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vml" ContentType="application/vnd.openxmlformats-officedocument.vmlDrawing"/>
  <Default Extension="rels" ContentType="application/vnd.openxmlformats-package.relationships+xml"/>
  <Default Extension="emf" ContentType="image/x-em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embeddings/oleObject2.bin" ContentType="application/vnd.openxmlformats-officedocument.oleObject"/>
  <Override PartName="/ppt/tags/tag5.xml" ContentType="application/vnd.openxmlformats-officedocument.presentationml.tags+xml"/>
  <Override PartName="/ppt/embeddings/oleObject3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1.xml" ContentType="application/vnd.openxmlformats-officedocument.presentationml.notesSlide+xml"/>
  <Override PartName="/ppt/embeddings/oleObject4.bin" ContentType="application/vnd.openxmlformats-officedocument.oleObject"/>
  <Override PartName="/ppt/embeddings/oleObject5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50" r:id="rId1"/>
  </p:sldMasterIdLst>
  <p:notesMasterIdLst>
    <p:notesMasterId r:id="rId3"/>
  </p:notesMasterIdLst>
  <p:handoutMasterIdLst>
    <p:handoutMasterId r:id="rId4"/>
  </p:handoutMasterIdLst>
  <p:sldIdLst>
    <p:sldId id="1797" r:id="rId2"/>
  </p:sldIdLst>
  <p:sldSz cx="9906000" cy="6858000" type="A4"/>
  <p:notesSz cx="6797675" cy="9926638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sz="1100"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sz="1100"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sz="1100"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sz="1100"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4319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CC33"/>
    <a:srgbClr val="006666"/>
    <a:srgbClr val="66FFFF"/>
    <a:srgbClr val="A6A6A6"/>
    <a:srgbClr val="993366"/>
    <a:srgbClr val="CC0066"/>
    <a:srgbClr val="000099"/>
    <a:srgbClr val="C10B32"/>
    <a:srgbClr val="C40842"/>
    <a:srgbClr val="C8045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B1032C-EA38-4F05-BA0D-38AFFFC7BED3}" styleName="Stile chiaro 3 - Colore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DA37D80-6434-44D0-A028-1B22A696006F}" styleName="Stile chiaro 3 - Colore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362" autoAdjust="0"/>
    <p:restoredTop sz="94340" autoAdjust="0"/>
  </p:normalViewPr>
  <p:slideViewPr>
    <p:cSldViewPr snapToGrid="0">
      <p:cViewPr varScale="1">
        <p:scale>
          <a:sx n="70" d="100"/>
          <a:sy n="70" d="100"/>
        </p:scale>
        <p:origin x="-400" y="-112"/>
      </p:cViewPr>
      <p:guideLst>
        <p:guide orient="horz" pos="4319"/>
        <p:guide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67" d="100"/>
          <a:sy n="67" d="100"/>
        </p:scale>
        <p:origin x="-2316" y="-108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4" Type="http://schemas.openxmlformats.org/officeDocument/2006/relationships/handoutMaster" Target="handoutMasters/handoutMaster1.xml"/><Relationship Id="rId5" Type="http://schemas.openxmlformats.org/officeDocument/2006/relationships/printerSettings" Target="printerSettings/printerSettings1.bin"/><Relationship Id="rId6" Type="http://schemas.openxmlformats.org/officeDocument/2006/relationships/tags" Target="tags/tag1.xml"/><Relationship Id="rId7" Type="http://schemas.openxmlformats.org/officeDocument/2006/relationships/presProps" Target="presProps.xml"/><Relationship Id="rId8" Type="http://schemas.openxmlformats.org/officeDocument/2006/relationships/viewProps" Target="viewProps.xml"/><Relationship Id="rId9" Type="http://schemas.openxmlformats.org/officeDocument/2006/relationships/theme" Target="theme/theme1.xml"/><Relationship Id="rId10" Type="http://schemas.openxmlformats.org/officeDocument/2006/relationships/tableStyles" Target="tableStyles.xml"/><Relationship Id="rId28" Type="http://schemas.microsoft.com/office/2015/10/relationships/revisionInfo" Target="revisionInfo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Relationship Id="rId2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60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200">
                <a:latin typeface="Times" pitchFamily="18" charset="0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016" y="0"/>
            <a:ext cx="2945660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Times" pitchFamily="18" charset="0"/>
                <a:cs typeface="+mn-cs"/>
              </a:defRPr>
            </a:lvl1pPr>
          </a:lstStyle>
          <a:p>
            <a:pPr>
              <a:defRPr/>
            </a:pPr>
            <a:fld id="{8CB88C83-F2A4-AC43-BF0E-D1CB03526072}" type="datetime1">
              <a:rPr lang="it-IT" smtClean="0"/>
              <a:pPr>
                <a:defRPr/>
              </a:pPr>
              <a:t>15/12/17</a:t>
            </a:fld>
            <a:endParaRPr lang="it-IT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0308"/>
            <a:ext cx="2945660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2" tIns="45711" rIns="91422" bIns="45711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200">
                <a:latin typeface="Times" pitchFamily="18" charset="0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016" y="9430308"/>
            <a:ext cx="2945660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2" tIns="45711" rIns="91422" bIns="45711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Times" pitchFamily="18" charset="0"/>
                <a:cs typeface="+mn-cs"/>
              </a:defRPr>
            </a:lvl1pPr>
          </a:lstStyle>
          <a:p>
            <a:pPr>
              <a:defRPr/>
            </a:pPr>
            <a:fld id="{92100E07-CD07-46D0-9521-829D10FA33B9}" type="slidenum">
              <a:rPr lang="it-IT"/>
              <a:pPr>
                <a:defRPr/>
              </a:pPr>
              <a:t>‹n.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4539788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60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200">
                <a:latin typeface="Times" pitchFamily="18" charset="0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2016" y="0"/>
            <a:ext cx="2945660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Times" pitchFamily="18" charset="0"/>
                <a:cs typeface="+mn-cs"/>
              </a:defRPr>
            </a:lvl1pPr>
          </a:lstStyle>
          <a:p>
            <a:pPr>
              <a:defRPr/>
            </a:pPr>
            <a:fld id="{048445ED-EA52-9F43-80A9-DE7624D8B889}" type="datetime1">
              <a:rPr lang="it-IT" smtClean="0"/>
              <a:pPr>
                <a:defRPr/>
              </a:pPr>
              <a:t>15/12/17</a:t>
            </a:fld>
            <a:endParaRPr lang="it-IT"/>
          </a:p>
        </p:txBody>
      </p:sp>
      <p:sp>
        <p:nvSpPr>
          <p:cNvPr id="2560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09613" y="744538"/>
            <a:ext cx="537845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358" y="4715153"/>
            <a:ext cx="4984962" cy="446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noProof="0"/>
              <a:t>Fare clic per modificare gli stili del testo dello schema</a:t>
            </a:r>
          </a:p>
          <a:p>
            <a:pPr lvl="1"/>
            <a:r>
              <a:rPr lang="it-IT" noProof="0"/>
              <a:t>Secondo livello</a:t>
            </a:r>
          </a:p>
          <a:p>
            <a:pPr lvl="2"/>
            <a:r>
              <a:rPr lang="it-IT" noProof="0"/>
              <a:t>Terzo livello</a:t>
            </a:r>
          </a:p>
          <a:p>
            <a:pPr lvl="3"/>
            <a:r>
              <a:rPr lang="it-IT" noProof="0"/>
              <a:t>Quarto livello</a:t>
            </a:r>
          </a:p>
          <a:p>
            <a:pPr lvl="4"/>
            <a:r>
              <a:rPr lang="it-IT" noProof="0"/>
              <a:t>Quinto livello</a:t>
            </a:r>
          </a:p>
        </p:txBody>
      </p:sp>
      <p:sp>
        <p:nvSpPr>
          <p:cNvPr id="819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0308"/>
            <a:ext cx="2945660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2" tIns="45711" rIns="91422" bIns="45711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200">
                <a:latin typeface="Times" pitchFamily="18" charset="0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819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2016" y="9430308"/>
            <a:ext cx="2945660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2" tIns="45711" rIns="91422" bIns="45711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Times" pitchFamily="18" charset="0"/>
                <a:cs typeface="+mn-cs"/>
              </a:defRPr>
            </a:lvl1pPr>
          </a:lstStyle>
          <a:p>
            <a:pPr>
              <a:defRPr/>
            </a:pPr>
            <a:fld id="{02B3BDA8-6E5E-428F-86B8-06FF1BC46B13}" type="slidenum">
              <a:rPr lang="it-IT"/>
              <a:pPr>
                <a:defRPr/>
              </a:pPr>
              <a:t>‹n.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22650548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DA7A4208-BD37-0E4A-96CB-74D042CEAA99}" type="datetime1">
              <a:rPr lang="it-IT" smtClean="0"/>
              <a:pPr>
                <a:defRPr/>
              </a:pPr>
              <a:t>15/12/17</a:t>
            </a:fld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2B3BDA8-6E5E-428F-86B8-06FF1BC46B13}" type="slidenum">
              <a:rPr lang="it-IT" smtClean="0"/>
              <a:pPr>
                <a:defRPr/>
              </a:pPr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834941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2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ggetto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421573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5827" name="Diapositiva think-cell" r:id="rId5" imgW="6350000" imgH="6350000" progId="TCLayout.ActiveDocument.1">
                  <p:embed/>
                </p:oleObj>
              </mc:Choice>
              <mc:Fallback>
                <p:oleObj name="Diapositiva think-cell" r:id="rId5" imgW="6350000" imgH="6350000" progId="TCLayout.ActiveDocument.1">
                  <p:embed/>
                  <p:pic>
                    <p:nvPicPr>
                      <p:cNvPr id="0" name="Picture 3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28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50863" y="6671276"/>
            <a:ext cx="88011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ctr" eaLnBrk="0" hangingPunct="0">
              <a:defRPr/>
            </a:pPr>
            <a:r>
              <a:rPr lang="it-IT" sz="900" dirty="0" err="1">
                <a:solidFill>
                  <a:srgbClr val="134C42"/>
                </a:solidFill>
                <a:cs typeface="+mn-cs"/>
              </a:rPr>
              <a:t>This</a:t>
            </a:r>
            <a:r>
              <a:rPr lang="it-IT" sz="900" dirty="0">
                <a:solidFill>
                  <a:srgbClr val="134C42"/>
                </a:solidFill>
                <a:cs typeface="+mn-cs"/>
              </a:rPr>
              <a:t> information </a:t>
            </a:r>
            <a:r>
              <a:rPr lang="it-IT" sz="900" dirty="0" err="1">
                <a:solidFill>
                  <a:srgbClr val="134C42"/>
                </a:solidFill>
                <a:cs typeface="+mn-cs"/>
              </a:rPr>
              <a:t>is</a:t>
            </a:r>
            <a:r>
              <a:rPr lang="it-IT" sz="900" dirty="0">
                <a:solidFill>
                  <a:srgbClr val="134C42"/>
                </a:solidFill>
                <a:cs typeface="+mn-cs"/>
              </a:rPr>
              <a:t> </a:t>
            </a:r>
            <a:r>
              <a:rPr lang="it-IT" sz="900" dirty="0" err="1">
                <a:solidFill>
                  <a:srgbClr val="134C42"/>
                </a:solidFill>
                <a:cs typeface="+mn-cs"/>
              </a:rPr>
              <a:t>confidential</a:t>
            </a:r>
            <a:r>
              <a:rPr lang="it-IT" sz="900" dirty="0">
                <a:solidFill>
                  <a:srgbClr val="134C42"/>
                </a:solidFill>
                <a:cs typeface="+mn-cs"/>
              </a:rPr>
              <a:t> and </a:t>
            </a:r>
            <a:r>
              <a:rPr lang="it-IT" sz="900" dirty="0" err="1">
                <a:solidFill>
                  <a:srgbClr val="134C42"/>
                </a:solidFill>
                <a:cs typeface="+mn-cs"/>
              </a:rPr>
              <a:t>was</a:t>
            </a:r>
            <a:r>
              <a:rPr lang="it-IT" sz="900" dirty="0">
                <a:solidFill>
                  <a:srgbClr val="134C42"/>
                </a:solidFill>
                <a:cs typeface="+mn-cs"/>
              </a:rPr>
              <a:t> </a:t>
            </a:r>
            <a:r>
              <a:rPr lang="it-IT" sz="900" dirty="0" err="1">
                <a:solidFill>
                  <a:srgbClr val="134C42"/>
                </a:solidFill>
                <a:cs typeface="+mn-cs"/>
              </a:rPr>
              <a:t>prepared</a:t>
            </a:r>
            <a:r>
              <a:rPr lang="it-IT" sz="900" dirty="0">
                <a:solidFill>
                  <a:srgbClr val="134C42"/>
                </a:solidFill>
                <a:cs typeface="+mn-cs"/>
              </a:rPr>
              <a:t> by Innovation</a:t>
            </a:r>
            <a:r>
              <a:rPr lang="it-IT" sz="900" baseline="0" dirty="0">
                <a:solidFill>
                  <a:srgbClr val="134C42"/>
                </a:solidFill>
                <a:cs typeface="+mn-cs"/>
              </a:rPr>
              <a:t> Team </a:t>
            </a:r>
            <a:r>
              <a:rPr lang="it-IT" sz="900" dirty="0" err="1">
                <a:solidFill>
                  <a:srgbClr val="134C42"/>
                </a:solidFill>
                <a:cs typeface="+mn-cs"/>
              </a:rPr>
              <a:t>solely</a:t>
            </a:r>
            <a:r>
              <a:rPr lang="it-IT" sz="900" dirty="0">
                <a:solidFill>
                  <a:srgbClr val="134C42"/>
                </a:solidFill>
                <a:cs typeface="+mn-cs"/>
              </a:rPr>
              <a:t> for the use of </a:t>
            </a:r>
            <a:r>
              <a:rPr lang="it-IT" sz="900" dirty="0" err="1">
                <a:solidFill>
                  <a:srgbClr val="134C42"/>
                </a:solidFill>
                <a:cs typeface="+mn-cs"/>
              </a:rPr>
              <a:t>our</a:t>
            </a:r>
            <a:r>
              <a:rPr lang="it-IT" sz="900" dirty="0">
                <a:solidFill>
                  <a:srgbClr val="134C42"/>
                </a:solidFill>
                <a:cs typeface="+mn-cs"/>
              </a:rPr>
              <a:t> client; </a:t>
            </a:r>
            <a:r>
              <a:rPr lang="it-IT" sz="900" dirty="0" err="1">
                <a:solidFill>
                  <a:srgbClr val="134C42"/>
                </a:solidFill>
                <a:cs typeface="+mn-cs"/>
              </a:rPr>
              <a:t>it</a:t>
            </a:r>
            <a:r>
              <a:rPr lang="it-IT" sz="900" dirty="0">
                <a:solidFill>
                  <a:srgbClr val="134C42"/>
                </a:solidFill>
                <a:cs typeface="+mn-cs"/>
              </a:rPr>
              <a:t> </a:t>
            </a:r>
            <a:r>
              <a:rPr lang="it-IT" sz="900" dirty="0" err="1">
                <a:solidFill>
                  <a:srgbClr val="134C42"/>
                </a:solidFill>
                <a:cs typeface="+mn-cs"/>
              </a:rPr>
              <a:t>is</a:t>
            </a:r>
            <a:r>
              <a:rPr lang="it-IT" sz="900" dirty="0">
                <a:solidFill>
                  <a:srgbClr val="134C42"/>
                </a:solidFill>
                <a:cs typeface="+mn-cs"/>
              </a:rPr>
              <a:t> </a:t>
            </a:r>
            <a:r>
              <a:rPr lang="it-IT" sz="900" dirty="0" err="1">
                <a:solidFill>
                  <a:srgbClr val="134C42"/>
                </a:solidFill>
                <a:cs typeface="+mn-cs"/>
              </a:rPr>
              <a:t>not</a:t>
            </a:r>
            <a:r>
              <a:rPr lang="it-IT" sz="900" dirty="0">
                <a:solidFill>
                  <a:srgbClr val="134C42"/>
                </a:solidFill>
                <a:cs typeface="+mn-cs"/>
              </a:rPr>
              <a:t> to be </a:t>
            </a:r>
            <a:r>
              <a:rPr lang="it-IT" sz="900" dirty="0" err="1">
                <a:solidFill>
                  <a:srgbClr val="134C42"/>
                </a:solidFill>
                <a:cs typeface="+mn-cs"/>
              </a:rPr>
              <a:t>relied</a:t>
            </a:r>
            <a:r>
              <a:rPr lang="it-IT" sz="900" dirty="0">
                <a:solidFill>
                  <a:srgbClr val="134C42"/>
                </a:solidFill>
                <a:cs typeface="+mn-cs"/>
              </a:rPr>
              <a:t> on by </a:t>
            </a:r>
            <a:r>
              <a:rPr lang="it-IT" sz="900" dirty="0" err="1">
                <a:solidFill>
                  <a:srgbClr val="134C42"/>
                </a:solidFill>
                <a:cs typeface="+mn-cs"/>
              </a:rPr>
              <a:t>any</a:t>
            </a:r>
            <a:r>
              <a:rPr lang="it-IT" sz="900" dirty="0">
                <a:solidFill>
                  <a:srgbClr val="134C42"/>
                </a:solidFill>
                <a:cs typeface="+mn-cs"/>
              </a:rPr>
              <a:t> 3rd party </a:t>
            </a:r>
            <a:r>
              <a:rPr lang="it-IT" sz="900" dirty="0" err="1">
                <a:solidFill>
                  <a:srgbClr val="134C42"/>
                </a:solidFill>
                <a:cs typeface="+mn-cs"/>
              </a:rPr>
              <a:t>without</a:t>
            </a:r>
            <a:r>
              <a:rPr lang="it-IT" sz="900" dirty="0">
                <a:solidFill>
                  <a:srgbClr val="134C42"/>
                </a:solidFill>
                <a:cs typeface="+mn-cs"/>
              </a:rPr>
              <a:t> Innovation Team </a:t>
            </a:r>
            <a:r>
              <a:rPr lang="it-IT" sz="900" dirty="0" err="1">
                <a:solidFill>
                  <a:srgbClr val="134C42"/>
                </a:solidFill>
                <a:cs typeface="+mn-cs"/>
              </a:rPr>
              <a:t>prior</a:t>
            </a:r>
            <a:r>
              <a:rPr lang="it-IT" sz="900" dirty="0">
                <a:solidFill>
                  <a:srgbClr val="134C42"/>
                </a:solidFill>
                <a:cs typeface="+mn-cs"/>
              </a:rPr>
              <a:t> </a:t>
            </a:r>
            <a:r>
              <a:rPr lang="it-IT" sz="900" dirty="0" err="1">
                <a:solidFill>
                  <a:srgbClr val="134C42"/>
                </a:solidFill>
                <a:cs typeface="+mn-cs"/>
              </a:rPr>
              <a:t>written</a:t>
            </a:r>
            <a:r>
              <a:rPr lang="it-IT" sz="900" dirty="0">
                <a:solidFill>
                  <a:srgbClr val="134C42"/>
                </a:solidFill>
                <a:cs typeface="+mn-cs"/>
              </a:rPr>
              <a:t> </a:t>
            </a:r>
            <a:r>
              <a:rPr lang="it-IT" sz="900" dirty="0" err="1">
                <a:solidFill>
                  <a:srgbClr val="134C42"/>
                </a:solidFill>
                <a:cs typeface="+mn-cs"/>
              </a:rPr>
              <a:t>consent</a:t>
            </a:r>
            <a:r>
              <a:rPr lang="it-IT" sz="900" dirty="0">
                <a:solidFill>
                  <a:srgbClr val="134C42"/>
                </a:solidFill>
                <a:cs typeface="+mn-cs"/>
              </a:rPr>
              <a:t>.</a:t>
            </a:r>
            <a:endParaRPr lang="it-IT" altLang="zh-CN" sz="900" dirty="0">
              <a:solidFill>
                <a:srgbClr val="134C42"/>
              </a:solidFill>
              <a:ea typeface="SimSun" pitchFamily="2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283954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6877" name="Diapositiva think-cell" r:id="rId4" imgW="6350000" imgH="6350000" progId="TCLayout.ActiveDocument.1">
                  <p:embed/>
                </p:oleObj>
              </mc:Choice>
              <mc:Fallback>
                <p:oleObj name="Diapositiva think-cell" r:id="rId4" imgW="6350000" imgH="6350000" progId="TCLayout.ActiveDocument.1">
                  <p:embed/>
                  <p:pic>
                    <p:nvPicPr>
                      <p:cNvPr id="0" name="Picture 3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4" Type="http://schemas.openxmlformats.org/officeDocument/2006/relationships/vmlDrawing" Target="../drawings/vmlDrawing1.vml"/><Relationship Id="rId5" Type="http://schemas.openxmlformats.org/officeDocument/2006/relationships/tags" Target="../tags/tag2.xml"/><Relationship Id="rId6" Type="http://schemas.openxmlformats.org/officeDocument/2006/relationships/oleObject" Target="../embeddings/oleObject1.bin"/><Relationship Id="rId7" Type="http://schemas.openxmlformats.org/officeDocument/2006/relationships/image" Target="../media/image1.emf"/><Relationship Id="rId8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42282966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4832" name="Diapositiva think-cell" r:id="rId6" imgW="6350000" imgH="6350000" progId="TCLayout.ActiveDocument.1">
                  <p:embed/>
                </p:oleObj>
              </mc:Choice>
              <mc:Fallback>
                <p:oleObj name="Diapositiva think-cell" r:id="rId6" imgW="6350000" imgH="6350000" progId="TCLayout.ActiveDocument.1">
                  <p:embed/>
                  <p:pic>
                    <p:nvPicPr>
                      <p:cNvPr id="0" name="Picture 3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6055" name="Oval 7"/>
          <p:cNvSpPr>
            <a:spLocks noChangeArrowheads="1"/>
          </p:cNvSpPr>
          <p:nvPr/>
        </p:nvSpPr>
        <p:spPr bwMode="gray">
          <a:xfrm>
            <a:off x="4668838" y="6553538"/>
            <a:ext cx="568325" cy="259675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ctr" defTabSz="762000" eaLnBrk="0" hangingPunct="0">
              <a:defRPr/>
            </a:pPr>
            <a:fld id="{C8E3A41D-1902-4AEF-9C03-3FF2630B1220}" type="slidenum">
              <a:rPr lang="it-IT" sz="1200" b="1">
                <a:solidFill>
                  <a:schemeClr val="bg1">
                    <a:lumMod val="50000"/>
                  </a:schemeClr>
                </a:solidFill>
                <a:cs typeface="+mn-cs"/>
              </a:rPr>
              <a:pPr algn="ctr" defTabSz="762000" eaLnBrk="0" hangingPunct="0">
                <a:defRPr/>
              </a:pPr>
              <a:t>‹n.›</a:t>
            </a:fld>
            <a:endParaRPr lang="it-IT" sz="1200" b="1">
              <a:solidFill>
                <a:schemeClr val="bg1">
                  <a:lumMod val="50000"/>
                </a:schemeClr>
              </a:solidFill>
              <a:cs typeface="+mn-cs"/>
            </a:endParaRPr>
          </a:p>
        </p:txBody>
      </p:sp>
      <p:sp>
        <p:nvSpPr>
          <p:cNvPr id="386112" name="Line 24"/>
          <p:cNvSpPr>
            <a:spLocks noChangeShapeType="1"/>
          </p:cNvSpPr>
          <p:nvPr userDrawn="1"/>
        </p:nvSpPr>
        <p:spPr bwMode="auto">
          <a:xfrm>
            <a:off x="0" y="6332745"/>
            <a:ext cx="9904413" cy="0"/>
          </a:xfrm>
          <a:prstGeom prst="line">
            <a:avLst/>
          </a:prstGeom>
          <a:noFill/>
          <a:ln w="12700">
            <a:solidFill>
              <a:srgbClr val="00664D"/>
            </a:solidFill>
            <a:round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it-IT">
              <a:cs typeface="+mn-cs"/>
            </a:endParaRPr>
          </a:p>
        </p:txBody>
      </p:sp>
      <p:sp>
        <p:nvSpPr>
          <p:cNvPr id="10" name="Rettangolo 9"/>
          <p:cNvSpPr/>
          <p:nvPr userDrawn="1"/>
        </p:nvSpPr>
        <p:spPr>
          <a:xfrm>
            <a:off x="5826083" y="6303664"/>
            <a:ext cx="405113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762000" eaLnBrk="0" hangingPunct="0"/>
            <a:r>
              <a:rPr lang="it-IT" sz="1400" dirty="0">
                <a:solidFill>
                  <a:srgbClr val="006666"/>
                </a:solidFill>
                <a:ea typeface="ＭＳ Ｐゴシック" pitchFamily="34" charset="-128"/>
              </a:rPr>
              <a:t>Il cambiamento dell’intermediazione a 10 anni dalle liberalizzazioni</a:t>
            </a:r>
          </a:p>
        </p:txBody>
      </p:sp>
      <p:pic>
        <p:nvPicPr>
          <p:cNvPr id="7" name="Picture 9">
            <a:extLst>
              <a:ext uri="{FF2B5EF4-FFF2-40B4-BE49-F238E27FC236}">
                <a16:creationId xmlns="" xmlns:a16="http://schemas.microsoft.com/office/drawing/2014/main" id="{3075028F-9DBE-4D2D-B102-BFD7DCF850E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872" y="6416839"/>
            <a:ext cx="1588296" cy="39637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58" r:id="rId2"/>
  </p:sldLayoutIdLst>
  <p:hf sldNum="0" hdr="0" ftr="0" dt="0"/>
  <p:txStyles>
    <p:titleStyle>
      <a:lvl1pPr algn="l" defTabSz="762000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762000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2pPr>
      <a:lvl3pPr algn="l" defTabSz="762000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3pPr>
      <a:lvl4pPr algn="l" defTabSz="762000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4pPr>
      <a:lvl5pPr algn="l" defTabSz="762000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5pPr>
      <a:lvl6pPr marL="457200" algn="l" defTabSz="762000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6pPr>
      <a:lvl7pPr marL="914400" algn="l" defTabSz="762000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7pPr>
      <a:lvl8pPr marL="1371600" algn="l" defTabSz="762000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8pPr>
      <a:lvl9pPr marL="1828800" algn="l" defTabSz="762000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9pPr>
    </p:titleStyle>
    <p:body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560388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1400">
          <a:solidFill>
            <a:schemeClr val="tx1"/>
          </a:solidFill>
          <a:latin typeface="+mn-lt"/>
        </a:defRPr>
      </a:lvl2pPr>
      <a:lvl3pPr marL="1046163" indent="-2286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1400">
          <a:solidFill>
            <a:schemeClr val="tx1"/>
          </a:solidFill>
          <a:latin typeface="+mn-lt"/>
        </a:defRPr>
      </a:lvl3pPr>
      <a:lvl4pPr marL="1516063" indent="-2286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1400">
          <a:solidFill>
            <a:schemeClr val="tx1"/>
          </a:solidFill>
          <a:latin typeface="+mn-lt"/>
        </a:defRPr>
      </a:lvl4pPr>
      <a:lvl5pPr marL="2006600" indent="-2286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1400">
          <a:solidFill>
            <a:schemeClr val="tx1"/>
          </a:solidFill>
          <a:latin typeface="+mn-lt"/>
        </a:defRPr>
      </a:lvl5pPr>
      <a:lvl6pPr marL="2463800" indent="-2286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1400">
          <a:solidFill>
            <a:schemeClr val="tx1"/>
          </a:solidFill>
          <a:latin typeface="+mn-lt"/>
        </a:defRPr>
      </a:lvl6pPr>
      <a:lvl7pPr marL="2921000" indent="-2286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1400">
          <a:solidFill>
            <a:schemeClr val="tx1"/>
          </a:solidFill>
          <a:latin typeface="+mn-lt"/>
        </a:defRPr>
      </a:lvl7pPr>
      <a:lvl8pPr marL="3378200" indent="-2286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1400">
          <a:solidFill>
            <a:schemeClr val="tx1"/>
          </a:solidFill>
          <a:latin typeface="+mn-lt"/>
        </a:defRPr>
      </a:lvl8pPr>
      <a:lvl9pPr marL="3835400" indent="-2286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14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7.xml"/><Relationship Id="rId14" Type="http://schemas.openxmlformats.org/officeDocument/2006/relationships/tags" Target="../tags/tag18.xml"/><Relationship Id="rId15" Type="http://schemas.openxmlformats.org/officeDocument/2006/relationships/tags" Target="../tags/tag19.xml"/><Relationship Id="rId16" Type="http://schemas.openxmlformats.org/officeDocument/2006/relationships/tags" Target="../tags/tag20.xml"/><Relationship Id="rId17" Type="http://schemas.openxmlformats.org/officeDocument/2006/relationships/tags" Target="../tags/tag21.xml"/><Relationship Id="rId18" Type="http://schemas.openxmlformats.org/officeDocument/2006/relationships/tags" Target="../tags/tag22.xml"/><Relationship Id="rId19" Type="http://schemas.openxmlformats.org/officeDocument/2006/relationships/tags" Target="../tags/tag23.xml"/><Relationship Id="rId63" Type="http://schemas.openxmlformats.org/officeDocument/2006/relationships/notesSlide" Target="../notesSlides/notesSlide1.xml"/><Relationship Id="rId64" Type="http://schemas.openxmlformats.org/officeDocument/2006/relationships/oleObject" Target="../embeddings/oleObject4.bin"/><Relationship Id="rId65" Type="http://schemas.openxmlformats.org/officeDocument/2006/relationships/image" Target="../media/image3.emf"/><Relationship Id="rId66" Type="http://schemas.openxmlformats.org/officeDocument/2006/relationships/oleObject" Target="../embeddings/oleObject5.bin"/><Relationship Id="rId67" Type="http://schemas.openxmlformats.org/officeDocument/2006/relationships/image" Target="../media/image4.emf"/><Relationship Id="rId50" Type="http://schemas.openxmlformats.org/officeDocument/2006/relationships/tags" Target="../tags/tag54.xml"/><Relationship Id="rId51" Type="http://schemas.openxmlformats.org/officeDocument/2006/relationships/tags" Target="../tags/tag55.xml"/><Relationship Id="rId52" Type="http://schemas.openxmlformats.org/officeDocument/2006/relationships/tags" Target="../tags/tag56.xml"/><Relationship Id="rId53" Type="http://schemas.openxmlformats.org/officeDocument/2006/relationships/tags" Target="../tags/tag57.xml"/><Relationship Id="rId54" Type="http://schemas.openxmlformats.org/officeDocument/2006/relationships/tags" Target="../tags/tag58.xml"/><Relationship Id="rId55" Type="http://schemas.openxmlformats.org/officeDocument/2006/relationships/tags" Target="../tags/tag59.xml"/><Relationship Id="rId56" Type="http://schemas.openxmlformats.org/officeDocument/2006/relationships/tags" Target="../tags/tag60.xml"/><Relationship Id="rId57" Type="http://schemas.openxmlformats.org/officeDocument/2006/relationships/tags" Target="../tags/tag61.xml"/><Relationship Id="rId58" Type="http://schemas.openxmlformats.org/officeDocument/2006/relationships/tags" Target="../tags/tag62.xml"/><Relationship Id="rId59" Type="http://schemas.openxmlformats.org/officeDocument/2006/relationships/tags" Target="../tags/tag63.xml"/><Relationship Id="rId40" Type="http://schemas.openxmlformats.org/officeDocument/2006/relationships/tags" Target="../tags/tag44.xml"/><Relationship Id="rId41" Type="http://schemas.openxmlformats.org/officeDocument/2006/relationships/tags" Target="../tags/tag45.xml"/><Relationship Id="rId42" Type="http://schemas.openxmlformats.org/officeDocument/2006/relationships/tags" Target="../tags/tag46.xml"/><Relationship Id="rId43" Type="http://schemas.openxmlformats.org/officeDocument/2006/relationships/tags" Target="../tags/tag47.xml"/><Relationship Id="rId44" Type="http://schemas.openxmlformats.org/officeDocument/2006/relationships/tags" Target="../tags/tag48.xml"/><Relationship Id="rId45" Type="http://schemas.openxmlformats.org/officeDocument/2006/relationships/tags" Target="../tags/tag49.xml"/><Relationship Id="rId46" Type="http://schemas.openxmlformats.org/officeDocument/2006/relationships/tags" Target="../tags/tag50.xml"/><Relationship Id="rId47" Type="http://schemas.openxmlformats.org/officeDocument/2006/relationships/tags" Target="../tags/tag51.xml"/><Relationship Id="rId48" Type="http://schemas.openxmlformats.org/officeDocument/2006/relationships/tags" Target="../tags/tag52.xml"/><Relationship Id="rId49" Type="http://schemas.openxmlformats.org/officeDocument/2006/relationships/tags" Target="../tags/tag53.xml"/><Relationship Id="rId1" Type="http://schemas.openxmlformats.org/officeDocument/2006/relationships/vmlDrawing" Target="../drawings/vmlDrawing4.vml"/><Relationship Id="rId2" Type="http://schemas.openxmlformats.org/officeDocument/2006/relationships/tags" Target="../tags/tag6.xml"/><Relationship Id="rId3" Type="http://schemas.openxmlformats.org/officeDocument/2006/relationships/tags" Target="../tags/tag7.xml"/><Relationship Id="rId4" Type="http://schemas.openxmlformats.org/officeDocument/2006/relationships/tags" Target="../tags/tag8.xml"/><Relationship Id="rId5" Type="http://schemas.openxmlformats.org/officeDocument/2006/relationships/tags" Target="../tags/tag9.xml"/><Relationship Id="rId6" Type="http://schemas.openxmlformats.org/officeDocument/2006/relationships/tags" Target="../tags/tag10.xml"/><Relationship Id="rId7" Type="http://schemas.openxmlformats.org/officeDocument/2006/relationships/tags" Target="../tags/tag11.xml"/><Relationship Id="rId8" Type="http://schemas.openxmlformats.org/officeDocument/2006/relationships/tags" Target="../tags/tag12.xml"/><Relationship Id="rId9" Type="http://schemas.openxmlformats.org/officeDocument/2006/relationships/tags" Target="../tags/tag13.xml"/><Relationship Id="rId30" Type="http://schemas.openxmlformats.org/officeDocument/2006/relationships/tags" Target="../tags/tag34.xml"/><Relationship Id="rId31" Type="http://schemas.openxmlformats.org/officeDocument/2006/relationships/tags" Target="../tags/tag35.xml"/><Relationship Id="rId32" Type="http://schemas.openxmlformats.org/officeDocument/2006/relationships/tags" Target="../tags/tag36.xml"/><Relationship Id="rId33" Type="http://schemas.openxmlformats.org/officeDocument/2006/relationships/tags" Target="../tags/tag37.xml"/><Relationship Id="rId34" Type="http://schemas.openxmlformats.org/officeDocument/2006/relationships/tags" Target="../tags/tag38.xml"/><Relationship Id="rId35" Type="http://schemas.openxmlformats.org/officeDocument/2006/relationships/tags" Target="../tags/tag39.xml"/><Relationship Id="rId36" Type="http://schemas.openxmlformats.org/officeDocument/2006/relationships/tags" Target="../tags/tag40.xml"/><Relationship Id="rId37" Type="http://schemas.openxmlformats.org/officeDocument/2006/relationships/tags" Target="../tags/tag41.xml"/><Relationship Id="rId38" Type="http://schemas.openxmlformats.org/officeDocument/2006/relationships/tags" Target="../tags/tag42.xml"/><Relationship Id="rId39" Type="http://schemas.openxmlformats.org/officeDocument/2006/relationships/tags" Target="../tags/tag43.xml"/><Relationship Id="rId20" Type="http://schemas.openxmlformats.org/officeDocument/2006/relationships/tags" Target="../tags/tag24.xml"/><Relationship Id="rId21" Type="http://schemas.openxmlformats.org/officeDocument/2006/relationships/tags" Target="../tags/tag25.xml"/><Relationship Id="rId22" Type="http://schemas.openxmlformats.org/officeDocument/2006/relationships/tags" Target="../tags/tag26.xml"/><Relationship Id="rId23" Type="http://schemas.openxmlformats.org/officeDocument/2006/relationships/tags" Target="../tags/tag27.xml"/><Relationship Id="rId24" Type="http://schemas.openxmlformats.org/officeDocument/2006/relationships/tags" Target="../tags/tag28.xml"/><Relationship Id="rId25" Type="http://schemas.openxmlformats.org/officeDocument/2006/relationships/tags" Target="../tags/tag29.xml"/><Relationship Id="rId26" Type="http://schemas.openxmlformats.org/officeDocument/2006/relationships/tags" Target="../tags/tag30.xml"/><Relationship Id="rId27" Type="http://schemas.openxmlformats.org/officeDocument/2006/relationships/tags" Target="../tags/tag31.xml"/><Relationship Id="rId28" Type="http://schemas.openxmlformats.org/officeDocument/2006/relationships/tags" Target="../tags/tag32.xml"/><Relationship Id="rId29" Type="http://schemas.openxmlformats.org/officeDocument/2006/relationships/tags" Target="../tags/tag33.xml"/><Relationship Id="rId60" Type="http://schemas.openxmlformats.org/officeDocument/2006/relationships/tags" Target="../tags/tag64.xml"/><Relationship Id="rId61" Type="http://schemas.openxmlformats.org/officeDocument/2006/relationships/tags" Target="../tags/tag65.xml"/><Relationship Id="rId62" Type="http://schemas.openxmlformats.org/officeDocument/2006/relationships/slideLayout" Target="../slideLayouts/slideLayout2.xml"/><Relationship Id="rId10" Type="http://schemas.openxmlformats.org/officeDocument/2006/relationships/tags" Target="../tags/tag14.xml"/><Relationship Id="rId11" Type="http://schemas.openxmlformats.org/officeDocument/2006/relationships/tags" Target="../tags/tag15.xml"/><Relationship Id="rId12" Type="http://schemas.openxmlformats.org/officeDocument/2006/relationships/tags" Target="../tags/tag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ggetto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3146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6177" name="Diapositiva think-cell" r:id="rId64" imgW="270" imgH="270" progId="TCLayout.ActiveDocument.1">
                  <p:embed/>
                </p:oleObj>
              </mc:Choice>
              <mc:Fallback>
                <p:oleObj name="Diapositiva think-cell" r:id="rId64" imgW="270" imgH="270" progId="TCLayout.ActiveDocument.1">
                  <p:embed/>
                  <p:pic>
                    <p:nvPicPr>
                      <p:cNvPr id="19" name="Oggetto 18" hidden="1"/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ttangolo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lnSpc>
                <a:spcPct val="90000"/>
              </a:lnSpc>
            </a:pPr>
            <a:endParaRPr kumimoji="0" lang="it-IT" sz="1200" u="none" strike="noStrike" cap="none" normalizeH="0" dirty="0" err="1">
              <a:ln>
                <a:noFill/>
              </a:ln>
              <a:solidFill>
                <a:schemeClr val="tx1"/>
              </a:solidFill>
              <a:effectLst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255248" y="197867"/>
            <a:ext cx="8834438" cy="4308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defTabSz="762000"/>
            <a:r>
              <a:rPr lang="it-IT" sz="2800" b="1" dirty="0">
                <a:solidFill>
                  <a:srgbClr val="006666"/>
                </a:solidFill>
                <a:ea typeface="ＭＳ Ｐゴシック" pitchFamily="34" charset="-128"/>
              </a:rPr>
              <a:t>Una lunga fase di selezione competitiva delle agenzie</a:t>
            </a:r>
          </a:p>
        </p:txBody>
      </p:sp>
      <p:sp>
        <p:nvSpPr>
          <p:cNvPr id="78" name="Figura a mano libera 69">
            <a:extLst>
              <a:ext uri="{FF2B5EF4-FFF2-40B4-BE49-F238E27FC236}">
                <a16:creationId xmlns="" xmlns:a16="http://schemas.microsoft.com/office/drawing/2014/main" id="{2029F0FF-C9A9-4B14-A6B1-9F64D6987088}"/>
              </a:ext>
            </a:extLst>
          </p:cNvPr>
          <p:cNvSpPr>
            <a:spLocks/>
          </p:cNvSpPr>
          <p:nvPr/>
        </p:nvSpPr>
        <p:spPr bwMode="auto">
          <a:xfrm rot="5400000">
            <a:off x="5812828" y="3513384"/>
            <a:ext cx="2771793" cy="277200"/>
          </a:xfrm>
          <a:custGeom>
            <a:avLst/>
            <a:gdLst>
              <a:gd name="T0" fmla="*/ 0 w 1086523"/>
              <a:gd name="T1" fmla="*/ 149421 h 548640"/>
              <a:gd name="T2" fmla="*/ 1539394 w 1086523"/>
              <a:gd name="T3" fmla="*/ 0 h 548640"/>
              <a:gd name="T4" fmla="*/ 3048605 w 1086523"/>
              <a:gd name="T5" fmla="*/ 146491 h 54864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086523" h="548640">
                <a:moveTo>
                  <a:pt x="0" y="548640"/>
                </a:moveTo>
                <a:lnTo>
                  <a:pt x="548640" y="0"/>
                </a:lnTo>
                <a:lnTo>
                  <a:pt x="1086523" y="537883"/>
                </a:lnTo>
              </a:path>
            </a:pathLst>
          </a:custGeom>
          <a:noFill/>
          <a:ln w="57150" cap="rnd" cmpd="sng">
            <a:solidFill>
              <a:srgbClr val="134C4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72000" tIns="0" rIns="0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endParaRPr lang="it-IT" dirty="0"/>
          </a:p>
        </p:txBody>
      </p:sp>
      <p:sp>
        <p:nvSpPr>
          <p:cNvPr id="79" name="Rectangle 16">
            <a:extLst>
              <a:ext uri="{FF2B5EF4-FFF2-40B4-BE49-F238E27FC236}">
                <a16:creationId xmlns="" xmlns:a16="http://schemas.microsoft.com/office/drawing/2014/main" id="{7AC5FD19-F64B-4CD0-AFB3-3ADF9432F5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41793" y="2423555"/>
            <a:ext cx="2397532" cy="233140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176213" indent="-176213" eaLnBrk="0" hangingPunct="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it-IT" sz="1600" b="1" dirty="0"/>
              <a:t>Da 2007 ad oggi il numero di agenzie si è ridotto di quasi 4.000 unità.</a:t>
            </a:r>
          </a:p>
          <a:p>
            <a:pPr marL="176213" indent="-176213" eaLnBrk="0" hangingPunct="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it-IT" sz="1600" b="1" dirty="0"/>
              <a:t>La selezione competitiva è effetto sia di fattori di mercato che di criticità legate all’attuale sistema di business che caratterizza le agenzie.</a:t>
            </a:r>
          </a:p>
        </p:txBody>
      </p:sp>
      <p:sp>
        <p:nvSpPr>
          <p:cNvPr id="89" name="Rectangle 17">
            <a:extLst>
              <a:ext uri="{FF2B5EF4-FFF2-40B4-BE49-F238E27FC236}">
                <a16:creationId xmlns="" xmlns:a16="http://schemas.microsoft.com/office/drawing/2014/main" id="{9F798CBC-B3A5-4EF7-94C6-19106CA77B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5248" y="1163587"/>
            <a:ext cx="5192116" cy="2870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180000" tIns="0" rIns="0" bIns="0" anchor="t"/>
          <a:lstStyle/>
          <a:p>
            <a:pPr eaLnBrk="0" hangingPunct="0"/>
            <a:r>
              <a:rPr lang="it-IT" sz="1600" b="1" dirty="0">
                <a:solidFill>
                  <a:schemeClr val="accent1"/>
                </a:solidFill>
                <a:ea typeface="ＭＳ Ｐゴシック" pitchFamily="34" charset="-128"/>
              </a:rPr>
              <a:t>Serie storica del numero di agenti e agenzie</a:t>
            </a:r>
          </a:p>
        </p:txBody>
      </p:sp>
      <p:graphicFrame>
        <p:nvGraphicFramePr>
          <p:cNvPr id="80" name="Oggetto 79">
            <a:extLst>
              <a:ext uri="{FF2B5EF4-FFF2-40B4-BE49-F238E27FC236}">
                <a16:creationId xmlns="" xmlns:a16="http://schemas.microsoft.com/office/drawing/2014/main" id="{A700E3BD-B992-495B-8743-2038B224C44B}"/>
              </a:ext>
            </a:extLst>
          </p:cNvPr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977418564"/>
              </p:ext>
            </p:extLst>
          </p:nvPr>
        </p:nvGraphicFramePr>
        <p:xfrm>
          <a:off x="152400" y="1828800"/>
          <a:ext cx="6355039" cy="374133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6178" name="Chart" r:id="rId66" imgW="6355039" imgH="3741336" progId="MSGraph.Chart.8">
                  <p:embed followColorScheme="full"/>
                </p:oleObj>
              </mc:Choice>
              <mc:Fallback>
                <p:oleObj name="Chart" r:id="rId66" imgW="6355039" imgH="3741336" progId="MSGraph.Chart.8">
                  <p:embed followColorScheme="full"/>
                  <p:pic>
                    <p:nvPicPr>
                      <p:cNvPr id="5" name="Oggetto 4"/>
                      <p:cNvPicPr/>
                      <p:nvPr/>
                    </p:nvPicPr>
                    <p:blipFill>
                      <a:blip r:embed="rId67"/>
                      <a:stretch>
                        <a:fillRect/>
                      </a:stretch>
                    </p:blipFill>
                    <p:spPr>
                      <a:xfrm>
                        <a:off x="152400" y="1828800"/>
                        <a:ext cx="6355039" cy="374133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10" name="Figura a mano libera: forma 9">
            <a:extLst>
              <a:ext uri="{FF2B5EF4-FFF2-40B4-BE49-F238E27FC236}">
                <a16:creationId xmlns="" xmlns:a16="http://schemas.microsoft.com/office/drawing/2014/main" id="{4858C5D0-3425-4D2C-98AC-597EFA2448D0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28663" y="1860550"/>
            <a:ext cx="79376" cy="247651"/>
          </a:xfrm>
          <a:custGeom>
            <a:avLst/>
            <a:gdLst/>
            <a:ahLst/>
            <a:cxnLst/>
            <a:rect l="0" t="0" r="0" b="0"/>
            <a:pathLst>
              <a:path w="79376" h="247651">
                <a:moveTo>
                  <a:pt x="79375" y="0"/>
                </a:moveTo>
                <a:lnTo>
                  <a:pt x="57150" y="82550"/>
                </a:lnTo>
                <a:lnTo>
                  <a:pt x="79375" y="165100"/>
                </a:lnTo>
                <a:lnTo>
                  <a:pt x="57150" y="247650"/>
                </a:lnTo>
                <a:lnTo>
                  <a:pt x="0" y="247650"/>
                </a:lnTo>
                <a:lnTo>
                  <a:pt x="22225" y="165100"/>
                </a:lnTo>
                <a:lnTo>
                  <a:pt x="0" y="82550"/>
                </a:lnTo>
                <a:lnTo>
                  <a:pt x="22225" y="0"/>
                </a:lnTo>
                <a:close/>
              </a:path>
            </a:pathLst>
          </a:custGeom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bg1">
                    <a:lumMod val="6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2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  <p:sp useBgFill="1">
        <p:nvSpPr>
          <p:cNvPr id="13" name="Figura a mano libera: forma 12">
            <a:extLst>
              <a:ext uri="{FF2B5EF4-FFF2-40B4-BE49-F238E27FC236}">
                <a16:creationId xmlns="" xmlns:a16="http://schemas.microsoft.com/office/drawing/2014/main" id="{43D2FAE2-0993-4D89-A61A-E695694B22D3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20725" y="5397500"/>
            <a:ext cx="96839" cy="146051"/>
          </a:xfrm>
          <a:custGeom>
            <a:avLst/>
            <a:gdLst/>
            <a:ahLst/>
            <a:cxnLst/>
            <a:rect l="0" t="0" r="0" b="0"/>
            <a:pathLst>
              <a:path w="96839" h="146051">
                <a:moveTo>
                  <a:pt x="96838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8" y="0"/>
                </a:lnTo>
                <a:close/>
              </a:path>
            </a:pathLst>
          </a:custGeom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bg1">
                    <a:lumMod val="6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2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  <p:sp useBgFill="1">
        <p:nvSpPr>
          <p:cNvPr id="21" name="Figura a mano libera: forma 20">
            <a:extLst>
              <a:ext uri="{FF2B5EF4-FFF2-40B4-BE49-F238E27FC236}">
                <a16:creationId xmlns="" xmlns:a16="http://schemas.microsoft.com/office/drawing/2014/main" id="{EFCA7DD3-FE05-466C-B26B-14322DD3F0B3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3289300" y="5397500"/>
            <a:ext cx="96839" cy="146051"/>
          </a:xfrm>
          <a:custGeom>
            <a:avLst/>
            <a:gdLst/>
            <a:ahLst/>
            <a:cxnLst/>
            <a:rect l="0" t="0" r="0" b="0"/>
            <a:pathLst>
              <a:path w="96839" h="146051">
                <a:moveTo>
                  <a:pt x="96838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8" y="0"/>
                </a:lnTo>
                <a:close/>
              </a:path>
            </a:pathLst>
          </a:custGeom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bg1">
                    <a:lumMod val="6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2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  <p:sp useBgFill="1">
        <p:nvSpPr>
          <p:cNvPr id="16" name="Figura a mano libera: forma 15">
            <a:extLst>
              <a:ext uri="{FF2B5EF4-FFF2-40B4-BE49-F238E27FC236}">
                <a16:creationId xmlns="" xmlns:a16="http://schemas.microsoft.com/office/drawing/2014/main" id="{34A42338-3E05-434F-AD9A-6809B3290407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3297238" y="2251075"/>
            <a:ext cx="79376" cy="247651"/>
          </a:xfrm>
          <a:custGeom>
            <a:avLst/>
            <a:gdLst/>
            <a:ahLst/>
            <a:cxnLst/>
            <a:rect l="0" t="0" r="0" b="0"/>
            <a:pathLst>
              <a:path w="79376" h="247651">
                <a:moveTo>
                  <a:pt x="79375" y="0"/>
                </a:moveTo>
                <a:lnTo>
                  <a:pt x="57150" y="82550"/>
                </a:lnTo>
                <a:lnTo>
                  <a:pt x="79375" y="165100"/>
                </a:lnTo>
                <a:lnTo>
                  <a:pt x="57150" y="247650"/>
                </a:lnTo>
                <a:lnTo>
                  <a:pt x="0" y="247650"/>
                </a:lnTo>
                <a:lnTo>
                  <a:pt x="22225" y="165100"/>
                </a:lnTo>
                <a:lnTo>
                  <a:pt x="0" y="82550"/>
                </a:lnTo>
                <a:lnTo>
                  <a:pt x="22225" y="0"/>
                </a:lnTo>
                <a:close/>
              </a:path>
            </a:pathLst>
          </a:custGeom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bg1">
                    <a:lumMod val="6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2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  <p:sp>
        <p:nvSpPr>
          <p:cNvPr id="9" name="Figura a mano libera: forma 8">
            <a:extLst>
              <a:ext uri="{FF2B5EF4-FFF2-40B4-BE49-F238E27FC236}">
                <a16:creationId xmlns="" xmlns:a16="http://schemas.microsoft.com/office/drawing/2014/main" id="{3E6E7407-12E3-43DF-90AB-16F025C04A2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785813" y="1860550"/>
            <a:ext cx="22226" cy="247651"/>
          </a:xfrm>
          <a:custGeom>
            <a:avLst/>
            <a:gdLst/>
            <a:ahLst/>
            <a:cxnLst/>
            <a:rect l="0" t="0" r="0" b="0"/>
            <a:pathLst>
              <a:path w="22226" h="247651">
                <a:moveTo>
                  <a:pt x="22225" y="0"/>
                </a:moveTo>
                <a:lnTo>
                  <a:pt x="0" y="82550"/>
                </a:lnTo>
                <a:lnTo>
                  <a:pt x="22225" y="165100"/>
                </a:lnTo>
                <a:lnTo>
                  <a:pt x="0" y="247650"/>
                </a:lnTo>
              </a:path>
            </a:pathLst>
          </a:cu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7200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1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  <p:sp>
        <p:nvSpPr>
          <p:cNvPr id="8" name="Figura a mano libera: forma 7">
            <a:extLst>
              <a:ext uri="{FF2B5EF4-FFF2-40B4-BE49-F238E27FC236}">
                <a16:creationId xmlns="" xmlns:a16="http://schemas.microsoft.com/office/drawing/2014/main" id="{777F8DFB-5997-4C36-AF98-2EAB31DE1DFF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28663" y="1860550"/>
            <a:ext cx="22226" cy="247651"/>
          </a:xfrm>
          <a:custGeom>
            <a:avLst/>
            <a:gdLst/>
            <a:ahLst/>
            <a:cxnLst/>
            <a:rect l="0" t="0" r="0" b="0"/>
            <a:pathLst>
              <a:path w="22226" h="247651">
                <a:moveTo>
                  <a:pt x="22225" y="0"/>
                </a:moveTo>
                <a:lnTo>
                  <a:pt x="0" y="82550"/>
                </a:lnTo>
                <a:lnTo>
                  <a:pt x="22225" y="165100"/>
                </a:lnTo>
                <a:lnTo>
                  <a:pt x="0" y="247650"/>
                </a:lnTo>
              </a:path>
            </a:pathLst>
          </a:cu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7200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1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  <p:sp>
        <p:nvSpPr>
          <p:cNvPr id="15" name="Figura a mano libera: forma 14">
            <a:extLst>
              <a:ext uri="{FF2B5EF4-FFF2-40B4-BE49-F238E27FC236}">
                <a16:creationId xmlns="" xmlns:a16="http://schemas.microsoft.com/office/drawing/2014/main" id="{D5740F4A-42CC-4E95-9A1A-46DADAAD10C2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3354388" y="2251075"/>
            <a:ext cx="22226" cy="247651"/>
          </a:xfrm>
          <a:custGeom>
            <a:avLst/>
            <a:gdLst/>
            <a:ahLst/>
            <a:cxnLst/>
            <a:rect l="0" t="0" r="0" b="0"/>
            <a:pathLst>
              <a:path w="22226" h="247651">
                <a:moveTo>
                  <a:pt x="22225" y="0"/>
                </a:moveTo>
                <a:lnTo>
                  <a:pt x="0" y="82550"/>
                </a:lnTo>
                <a:lnTo>
                  <a:pt x="22225" y="165100"/>
                </a:lnTo>
                <a:lnTo>
                  <a:pt x="0" y="247650"/>
                </a:lnTo>
              </a:path>
            </a:pathLst>
          </a:cu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7200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1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  <p:sp>
        <p:nvSpPr>
          <p:cNvPr id="11" name="Figura a mano libera: forma 10">
            <a:extLst>
              <a:ext uri="{FF2B5EF4-FFF2-40B4-BE49-F238E27FC236}">
                <a16:creationId xmlns="" xmlns:a16="http://schemas.microsoft.com/office/drawing/2014/main" id="{77440AF5-A827-4314-8250-01B4C54B9885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20725" y="5397500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1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  <p:sp>
        <p:nvSpPr>
          <p:cNvPr id="12" name="Figura a mano libera: forma 11">
            <a:extLst>
              <a:ext uri="{FF2B5EF4-FFF2-40B4-BE49-F238E27FC236}">
                <a16:creationId xmlns="" xmlns:a16="http://schemas.microsoft.com/office/drawing/2014/main" id="{384F0EA4-A432-4005-938A-E605BA4CB2B2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777875" y="5397500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1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  <p:sp>
        <p:nvSpPr>
          <p:cNvPr id="14" name="Figura a mano libera: forma 13">
            <a:extLst>
              <a:ext uri="{FF2B5EF4-FFF2-40B4-BE49-F238E27FC236}">
                <a16:creationId xmlns="" xmlns:a16="http://schemas.microsoft.com/office/drawing/2014/main" id="{66EB58A9-A9CC-4BCA-BF5F-ED1DD5437AA5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3297238" y="2251075"/>
            <a:ext cx="22226" cy="247651"/>
          </a:xfrm>
          <a:custGeom>
            <a:avLst/>
            <a:gdLst/>
            <a:ahLst/>
            <a:cxnLst/>
            <a:rect l="0" t="0" r="0" b="0"/>
            <a:pathLst>
              <a:path w="22226" h="247651">
                <a:moveTo>
                  <a:pt x="22225" y="0"/>
                </a:moveTo>
                <a:lnTo>
                  <a:pt x="0" y="82550"/>
                </a:lnTo>
                <a:lnTo>
                  <a:pt x="22225" y="165100"/>
                </a:lnTo>
                <a:lnTo>
                  <a:pt x="0" y="247650"/>
                </a:lnTo>
              </a:path>
            </a:pathLst>
          </a:cu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7200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1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  <p:sp>
        <p:nvSpPr>
          <p:cNvPr id="20" name="Figura a mano libera: forma 19">
            <a:extLst>
              <a:ext uri="{FF2B5EF4-FFF2-40B4-BE49-F238E27FC236}">
                <a16:creationId xmlns="" xmlns:a16="http://schemas.microsoft.com/office/drawing/2014/main" id="{8867D308-DA16-4224-9AB9-A898EBC6B76C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3346450" y="5397500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1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  <p:sp>
        <p:nvSpPr>
          <p:cNvPr id="17" name="Figura a mano libera: forma 16">
            <a:extLst>
              <a:ext uri="{FF2B5EF4-FFF2-40B4-BE49-F238E27FC236}">
                <a16:creationId xmlns="" xmlns:a16="http://schemas.microsoft.com/office/drawing/2014/main" id="{94D6B245-A838-4BA8-8D4D-692FCC365F1B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3289300" y="5397500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1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  <p:cxnSp>
        <p:nvCxnSpPr>
          <p:cNvPr id="4" name="Connettore diritto 3">
            <a:extLst>
              <a:ext uri="{FF2B5EF4-FFF2-40B4-BE49-F238E27FC236}">
                <a16:creationId xmlns="" xmlns:a16="http://schemas.microsoft.com/office/drawing/2014/main" id="{4BAEAD3A-BA36-4830-9D9C-E2F22980245D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2706688" y="3124200"/>
            <a:ext cx="98425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" name="Connettore diritto 5">
            <a:extLst>
              <a:ext uri="{FF2B5EF4-FFF2-40B4-BE49-F238E27FC236}">
                <a16:creationId xmlns="" xmlns:a16="http://schemas.microsoft.com/office/drawing/2014/main" id="{BA2E3032-0918-4D72-B4D7-DB12616742EB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6294438" y="3679825"/>
            <a:ext cx="547688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" name="Connettore diritto 4">
            <a:extLst>
              <a:ext uri="{FF2B5EF4-FFF2-40B4-BE49-F238E27FC236}">
                <a16:creationId xmlns="" xmlns:a16="http://schemas.microsoft.com/office/drawing/2014/main" id="{44EE7C38-359D-48DC-87F5-E0FE25850F13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3352800" y="3124200"/>
            <a:ext cx="3489325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7" name="Connettore diritto 6">
            <a:extLst>
              <a:ext uri="{FF2B5EF4-FFF2-40B4-BE49-F238E27FC236}">
                <a16:creationId xmlns="" xmlns:a16="http://schemas.microsoft.com/office/drawing/2014/main" id="{E3638601-AB5E-4212-B55B-71A5EB07BF45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6804025" y="3121025"/>
            <a:ext cx="0" cy="561975"/>
          </a:xfrm>
          <a:prstGeom prst="line">
            <a:avLst/>
          </a:prstGeom>
          <a:solidFill>
            <a:schemeClr val="bg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28" name="Segnaposto testo 83">
            <a:extLst>
              <a:ext uri="{FF2B5EF4-FFF2-40B4-BE49-F238E27FC236}">
                <a16:creationId xmlns="" xmlns:a16="http://schemas.microsoft.com/office/drawing/2014/main" id="{4DA85D1D-30E0-4EB5-8BC1-0D56241A638F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805113" y="2003425"/>
            <a:ext cx="5476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2pPr>
            <a:lvl3pPr marL="10461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3pPr>
            <a:lvl4pPr marL="15160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4pPr>
            <a:lvl5pPr marL="20066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5pPr>
            <a:lvl6pPr marL="24638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6pPr>
            <a:lvl7pPr marL="29210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7pPr>
            <a:lvl8pPr marL="33782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8pPr>
            <a:lvl9pPr marL="38354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5E918E9B-54C6-4FE4-8CD7-CDBE5277FDE9}" type="datetime'2''''1''''''''''''''''''.3''''''''3''''''''9'''''''''''''''''">
              <a:rPr lang="en-US" altLang="en-US" i="1">
                <a:latin typeface="Calibri" panose="020F0502020204030204" pitchFamily="34" charset="0"/>
                <a:sym typeface="Calibri" panose="020F0502020204030204" pitchFamily="34" charset="0"/>
              </a:rPr>
              <a:pPr/>
              <a:t>21.339</a:t>
            </a:fld>
            <a:endParaRPr lang="it-IT" i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9" name="Segnaposto testo 54">
            <a:extLst>
              <a:ext uri="{FF2B5EF4-FFF2-40B4-BE49-F238E27FC236}">
                <a16:creationId xmlns="" xmlns:a16="http://schemas.microsoft.com/office/drawing/2014/main" id="{6AA94EF5-F168-4EC4-AC1A-A363C0F33FB7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2376488" y="5573713"/>
            <a:ext cx="3746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2pPr>
            <a:lvl3pPr marL="10461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3pPr>
            <a:lvl4pPr marL="15160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4pPr>
            <a:lvl5pPr marL="20066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5pPr>
            <a:lvl6pPr marL="24638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6pPr>
            <a:lvl7pPr marL="29210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7pPr>
            <a:lvl8pPr marL="33782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8pPr>
            <a:lvl9pPr marL="38354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7D8949A3-4BC3-4553-9C25-FDF770CBDD6F}" type="datetime'''''2''''0''''''''0''''''7'''''''''''''''''''">
              <a:rPr lang="en-US" altLang="en-US">
                <a:latin typeface="Calibri" panose="020F0502020204030204" pitchFamily="34" charset="0"/>
                <a:sym typeface="Calibri" panose="020F0502020204030204" pitchFamily="34" charset="0"/>
              </a:rPr>
              <a:pPr/>
              <a:t>2007</a:t>
            </a:fld>
            <a:endParaRPr lang="it-IT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2" name="Segnaposto testo 67">
            <a:extLst>
              <a:ext uri="{FF2B5EF4-FFF2-40B4-BE49-F238E27FC236}">
                <a16:creationId xmlns="" xmlns:a16="http://schemas.microsoft.com/office/drawing/2014/main" id="{A25DF1B8-9DAB-4EA9-82B2-4476C6D1C7CE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263775" y="2886075"/>
            <a:ext cx="5476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2pPr>
            <a:lvl3pPr marL="10461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3pPr>
            <a:lvl4pPr marL="15160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4pPr>
            <a:lvl5pPr marL="20066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5pPr>
            <a:lvl6pPr marL="24638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6pPr>
            <a:lvl7pPr marL="29210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7pPr>
            <a:lvl8pPr marL="33782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8pPr>
            <a:lvl9pPr marL="38354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386EAE88-ABFE-4970-859D-58ABC40AACFD}" type="datetime'''''''1''''''''''5.''6''''''''''''''''''''''7''''3'''''">
              <a:rPr lang="en-US" altLang="en-US">
                <a:latin typeface="Calibri" panose="020F0502020204030204" pitchFamily="34" charset="0"/>
                <a:sym typeface="Calibri" panose="020F0502020204030204" pitchFamily="34" charset="0"/>
              </a:rPr>
              <a:pPr/>
              <a:t>15.673</a:t>
            </a:fld>
            <a:endParaRPr lang="it-IT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3" name="Rettangolo 122">
            <a:extLst>
              <a:ext uri="{FF2B5EF4-FFF2-40B4-BE49-F238E27FC236}">
                <a16:creationId xmlns="" xmlns:a16="http://schemas.microsoft.com/office/drawing/2014/main" id="{57C3173E-67B8-4ED4-B3D0-F6C0AE17F73D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5875338" y="2544763"/>
            <a:ext cx="547688" cy="2127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bg1">
                    <a:lumMod val="6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numCol="1" rtlCol="0" anchor="b" anchorCtr="0" compatLnSpc="1">
            <a:prstTxWarp prst="textNoShape">
              <a:avLst/>
            </a:prstTxWarp>
          </a:bodyPr>
          <a:lstStyle/>
          <a:p>
            <a:pPr algn="ctr" eaLnBrk="0" hangingPunct="0"/>
            <a:fld id="{EE76B270-936F-4ED9-8C39-16B65A17AFE9}" type="datetime'''''''''''''''17''''''''''''''''.''''''73''''3'''">
              <a:rPr lang="it-IT" altLang="en-US" sz="1400" i="1">
                <a:cs typeface="+mn-cs"/>
              </a:rPr>
              <a:pPr/>
              <a:t>17.733</a:t>
            </a:fld>
            <a:endParaRPr lang="it-IT" sz="1400" i="1" strike="noStrike" normalizeH="0" dirty="0" err="1">
              <a:ln>
                <a:noFill/>
              </a:ln>
              <a:effectLst/>
              <a:cs typeface="+mn-cs"/>
              <a:sym typeface="Calibri" panose="020F0502020204030204" pitchFamily="34" charset="0"/>
            </a:endParaRPr>
          </a:p>
        </p:txBody>
      </p:sp>
      <p:sp>
        <p:nvSpPr>
          <p:cNvPr id="108" name="Segnaposto testo 59">
            <a:extLst>
              <a:ext uri="{FF2B5EF4-FFF2-40B4-BE49-F238E27FC236}">
                <a16:creationId xmlns="" xmlns:a16="http://schemas.microsoft.com/office/drawing/2014/main" id="{427AB7E1-E0DD-44EF-88DE-CA87D7549744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5454650" y="5573713"/>
            <a:ext cx="3746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2pPr>
            <a:lvl3pPr marL="10461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3pPr>
            <a:lvl4pPr marL="15160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4pPr>
            <a:lvl5pPr marL="20066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5pPr>
            <a:lvl6pPr marL="24638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6pPr>
            <a:lvl7pPr marL="29210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7pPr>
            <a:lvl8pPr marL="33782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8pPr>
            <a:lvl9pPr marL="38354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875F9AEE-0EE6-426B-92ED-704B30E86E76}" type="datetime'''''2''''''0''''''''''''''1''''''''5'''''''">
              <a:rPr lang="it-IT" altLang="en-US">
                <a:latin typeface="Calibri" panose="020F0502020204030204" pitchFamily="34" charset="0"/>
                <a:sym typeface="Calibri" panose="020F0502020204030204" pitchFamily="34" charset="0"/>
              </a:rPr>
              <a:pPr/>
              <a:t>2015</a:t>
            </a:fld>
            <a:endParaRPr lang="it-IT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9" name="Rettangolo 108">
            <a:extLst>
              <a:ext uri="{FF2B5EF4-FFF2-40B4-BE49-F238E27FC236}">
                <a16:creationId xmlns="" xmlns:a16="http://schemas.microsoft.com/office/drawing/2014/main" id="{1CFB55C8-9F16-4936-BCE8-55AF42889616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5337175" y="3395663"/>
            <a:ext cx="547688" cy="2127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bg1">
                    <a:lumMod val="6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numCol="1" rtlCol="0" anchor="b" anchorCtr="0" compatLnSpc="1">
            <a:prstTxWarp prst="textNoShape">
              <a:avLst/>
            </a:prstTxWarp>
          </a:bodyPr>
          <a:lstStyle/>
          <a:p>
            <a:pPr algn="ctr" eaLnBrk="0" hangingPunct="0"/>
            <a:fld id="{1F2CFFA3-AFB0-4922-AA95-EFB5D5A63D0B}" type="datetime'''''''''1''''''2.''''24''''6'''''''''''''">
              <a:rPr lang="it-IT" altLang="en-US" sz="1400">
                <a:cs typeface="+mn-cs"/>
              </a:rPr>
              <a:pPr/>
              <a:t>12.246</a:t>
            </a:fld>
            <a:endParaRPr lang="it-IT" sz="1400" strike="noStrike" normalizeH="0" dirty="0" err="1">
              <a:ln>
                <a:noFill/>
              </a:ln>
              <a:effectLst/>
              <a:cs typeface="+mn-cs"/>
              <a:sym typeface="Calibri" panose="020F0502020204030204" pitchFamily="34" charset="0"/>
            </a:endParaRPr>
          </a:p>
        </p:txBody>
      </p:sp>
      <p:sp>
        <p:nvSpPr>
          <p:cNvPr id="110" name="Rettangolo 109">
            <a:extLst>
              <a:ext uri="{FF2B5EF4-FFF2-40B4-BE49-F238E27FC236}">
                <a16:creationId xmlns="" xmlns:a16="http://schemas.microsoft.com/office/drawing/2014/main" id="{2E3A214E-9B97-459C-8FFE-91D36F023CB6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5365750" y="2482850"/>
            <a:ext cx="547688" cy="2127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bg1">
                    <a:lumMod val="6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numCol="1" rtlCol="0" anchor="b" anchorCtr="0" compatLnSpc="1">
            <a:prstTxWarp prst="textNoShape">
              <a:avLst/>
            </a:prstTxWarp>
          </a:bodyPr>
          <a:lstStyle/>
          <a:p>
            <a:pPr algn="ctr" eaLnBrk="0" hangingPunct="0"/>
            <a:fld id="{AE394BED-538B-4D27-A364-B71C0AB3CDB4}" type="datetime'''1''''''''''''''''''8''''''''''''.''''''1''''''3''''''''''2'">
              <a:rPr lang="it-IT" altLang="en-US" sz="1400" i="1">
                <a:cs typeface="+mn-cs"/>
              </a:rPr>
              <a:pPr/>
              <a:t>18.132</a:t>
            </a:fld>
            <a:endParaRPr lang="it-IT" sz="1400" i="1" strike="noStrike" normalizeH="0" dirty="0" err="1">
              <a:ln>
                <a:noFill/>
              </a:ln>
              <a:effectLst/>
              <a:cs typeface="+mn-cs"/>
              <a:sym typeface="Calibri" panose="020F0502020204030204" pitchFamily="34" charset="0"/>
            </a:endParaRPr>
          </a:p>
        </p:txBody>
      </p:sp>
      <p:sp>
        <p:nvSpPr>
          <p:cNvPr id="111" name="Segnaposto testo 59">
            <a:extLst>
              <a:ext uri="{FF2B5EF4-FFF2-40B4-BE49-F238E27FC236}">
                <a16:creationId xmlns="" xmlns:a16="http://schemas.microsoft.com/office/drawing/2014/main" id="{BEF0ED1C-C184-4DA3-BACF-F7A01649E2B8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4940300" y="5573713"/>
            <a:ext cx="3746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2pPr>
            <a:lvl3pPr marL="10461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3pPr>
            <a:lvl4pPr marL="15160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4pPr>
            <a:lvl5pPr marL="20066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5pPr>
            <a:lvl6pPr marL="24638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6pPr>
            <a:lvl7pPr marL="29210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7pPr>
            <a:lvl8pPr marL="33782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8pPr>
            <a:lvl9pPr marL="38354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D79F16A4-4ED9-4B68-BFF9-9D053A476270}" type="datetime'''''''''''''''''''''''2''01''''''''4'''''''''">
              <a:rPr lang="en-US" altLang="en-US">
                <a:latin typeface="Calibri" panose="020F0502020204030204" pitchFamily="34" charset="0"/>
                <a:sym typeface="Calibri" panose="020F0502020204030204" pitchFamily="34" charset="0"/>
              </a:rPr>
              <a:pPr/>
              <a:t>2014</a:t>
            </a:fld>
            <a:endParaRPr lang="it-IT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0" name="Segnaposto testo 72">
            <a:extLst>
              <a:ext uri="{FF2B5EF4-FFF2-40B4-BE49-F238E27FC236}">
                <a16:creationId xmlns="" xmlns:a16="http://schemas.microsoft.com/office/drawing/2014/main" id="{429BF9F8-C85D-4DFA-BCDD-BB0E16CACFED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795838" y="3357563"/>
            <a:ext cx="5476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2pPr>
            <a:lvl3pPr marL="10461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3pPr>
            <a:lvl4pPr marL="15160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4pPr>
            <a:lvl5pPr marL="20066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5pPr>
            <a:lvl6pPr marL="24638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6pPr>
            <a:lvl7pPr marL="29210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7pPr>
            <a:lvl8pPr marL="33782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8pPr>
            <a:lvl9pPr marL="38354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A7C907B7-F01A-445F-A122-550F7F4F96B3}" type="datetime'''1''''''''''''2''''.''''''''''''5''''''''''''''''''3''''1'">
              <a:rPr lang="en-US" altLang="en-US">
                <a:latin typeface="Calibri" panose="020F0502020204030204" pitchFamily="34" charset="0"/>
                <a:sym typeface="Calibri" panose="020F0502020204030204" pitchFamily="34" charset="0"/>
              </a:rPr>
              <a:pPr/>
              <a:t>12.531</a:t>
            </a:fld>
            <a:endParaRPr lang="it-IT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3" name="Segnaposto testo 87">
            <a:extLst>
              <a:ext uri="{FF2B5EF4-FFF2-40B4-BE49-F238E27FC236}">
                <a16:creationId xmlns="" xmlns:a16="http://schemas.microsoft.com/office/drawing/2014/main" id="{8985BBB6-9CC2-41D2-A477-311ABB04B356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4854575" y="2392363"/>
            <a:ext cx="5476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2pPr>
            <a:lvl3pPr marL="10461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3pPr>
            <a:lvl4pPr marL="15160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4pPr>
            <a:lvl5pPr marL="20066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5pPr>
            <a:lvl6pPr marL="24638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6pPr>
            <a:lvl7pPr marL="29210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7pPr>
            <a:lvl8pPr marL="33782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8pPr>
            <a:lvl9pPr marL="38354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A8182307-3088-48D3-B90F-946A1D1A0AD9}" type="datetime'''18''''''''''''''''''''''''''''''''.''''''72''4'">
              <a:rPr lang="en-US" altLang="en-US" i="1">
                <a:latin typeface="Calibri" panose="020F0502020204030204" pitchFamily="34" charset="0"/>
                <a:sym typeface="Calibri" panose="020F0502020204030204" pitchFamily="34" charset="0"/>
              </a:rPr>
              <a:pPr/>
              <a:t>18.724</a:t>
            </a:fld>
            <a:endParaRPr lang="it-IT" i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2" name="Rettangolo 121">
            <a:extLst>
              <a:ext uri="{FF2B5EF4-FFF2-40B4-BE49-F238E27FC236}">
                <a16:creationId xmlns="" xmlns:a16="http://schemas.microsoft.com/office/drawing/2014/main" id="{A6378F77-1F56-488D-8566-1AF7DD1EFE45}"/>
              </a:ext>
            </a:extLst>
          </p:cNvPr>
          <p:cNvSpPr/>
          <p:nvPr>
            <p:custDataLst>
              <p:tags r:id="rId31"/>
            </p:custDataLst>
          </p:nvPr>
        </p:nvSpPr>
        <p:spPr bwMode="gray">
          <a:xfrm>
            <a:off x="5878513" y="3441700"/>
            <a:ext cx="547688" cy="2127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bg1">
                    <a:lumMod val="6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numCol="1" rtlCol="0" anchor="b" anchorCtr="0" compatLnSpc="1">
            <a:prstTxWarp prst="textNoShape">
              <a:avLst/>
            </a:prstTxWarp>
          </a:bodyPr>
          <a:lstStyle/>
          <a:p>
            <a:pPr algn="ctr" eaLnBrk="0" hangingPunct="0"/>
            <a:fld id="{F767ED71-5C7E-444B-89EE-D111429711CF}" type="datetime'''''1''1''''''''''.''''''''''9''''''''''''''''''5''''''''''0'">
              <a:rPr lang="it-IT" altLang="en-US" sz="1400">
                <a:cs typeface="+mn-cs"/>
              </a:rPr>
              <a:pPr/>
              <a:t>11.950</a:t>
            </a:fld>
            <a:endParaRPr lang="it-IT" sz="1400" strike="noStrike" normalizeH="0" dirty="0" err="1">
              <a:ln>
                <a:noFill/>
              </a:ln>
              <a:effectLst/>
              <a:cs typeface="+mn-cs"/>
              <a:sym typeface="Calibri" panose="020F0502020204030204" pitchFamily="34" charset="0"/>
            </a:endParaRPr>
          </a:p>
        </p:txBody>
      </p:sp>
      <p:sp>
        <p:nvSpPr>
          <p:cNvPr id="115" name="Segnaposto testo 71">
            <a:extLst>
              <a:ext uri="{FF2B5EF4-FFF2-40B4-BE49-F238E27FC236}">
                <a16:creationId xmlns="" xmlns:a16="http://schemas.microsoft.com/office/drawing/2014/main" id="{4E75FB14-0651-4D75-B383-B9B87517E4E0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254500" y="3289300"/>
            <a:ext cx="5476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2pPr>
            <a:lvl3pPr marL="10461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3pPr>
            <a:lvl4pPr marL="15160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4pPr>
            <a:lvl5pPr marL="20066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5pPr>
            <a:lvl6pPr marL="24638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6pPr>
            <a:lvl7pPr marL="29210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7pPr>
            <a:lvl8pPr marL="33782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8pPr>
            <a:lvl9pPr marL="38354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64B5269A-3322-412E-A9DA-7E5DC7364820}" type="datetime'''''1''''''''''''2.''9''''''''''''9''''''''''''''''''''''3'">
              <a:rPr lang="en-US" altLang="en-US">
                <a:latin typeface="Calibri" panose="020F0502020204030204" pitchFamily="34" charset="0"/>
                <a:sym typeface="Calibri" panose="020F0502020204030204" pitchFamily="34" charset="0"/>
              </a:rPr>
              <a:pPr/>
              <a:t>12.993</a:t>
            </a:fld>
            <a:endParaRPr lang="it-IT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6" name="Segnaposto testo 86">
            <a:extLst>
              <a:ext uri="{FF2B5EF4-FFF2-40B4-BE49-F238E27FC236}">
                <a16:creationId xmlns="" xmlns:a16="http://schemas.microsoft.com/office/drawing/2014/main" id="{C05B2FF7-C000-47A3-B830-BAB91EACB1E5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337050" y="2292350"/>
            <a:ext cx="5476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2pPr>
            <a:lvl3pPr marL="10461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3pPr>
            <a:lvl4pPr marL="15160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4pPr>
            <a:lvl5pPr marL="20066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5pPr>
            <a:lvl6pPr marL="24638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6pPr>
            <a:lvl7pPr marL="29210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7pPr>
            <a:lvl8pPr marL="33782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8pPr>
            <a:lvl9pPr marL="38354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E4AAEAD4-2E51-49D2-BB29-0E5770574017}" type="datetime'1''''''9''''.''''''''3''''''''''''''''''8''''''''''''7'''''">
              <a:rPr lang="en-US" altLang="en-US" i="1">
                <a:latin typeface="Calibri" panose="020F0502020204030204" pitchFamily="34" charset="0"/>
                <a:sym typeface="Calibri" panose="020F0502020204030204" pitchFamily="34" charset="0"/>
              </a:rPr>
              <a:pPr/>
              <a:t>19.387</a:t>
            </a:fld>
            <a:endParaRPr lang="it-IT" i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7" name="Segnaposto testo 57">
            <a:extLst>
              <a:ext uri="{FF2B5EF4-FFF2-40B4-BE49-F238E27FC236}">
                <a16:creationId xmlns="" xmlns:a16="http://schemas.microsoft.com/office/drawing/2014/main" id="{550B62A5-19B1-4D0C-9816-8000C5FBA1CA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3914775" y="5573713"/>
            <a:ext cx="3746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2pPr>
            <a:lvl3pPr marL="10461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3pPr>
            <a:lvl4pPr marL="15160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4pPr>
            <a:lvl5pPr marL="20066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5pPr>
            <a:lvl6pPr marL="24638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6pPr>
            <a:lvl7pPr marL="29210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7pPr>
            <a:lvl8pPr marL="33782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8pPr>
            <a:lvl9pPr marL="38354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80ED2ABF-8440-4766-B51C-BC3C7DC04599}" type="datetime'2''''''0''''''12'''''''''''''''''''''''''">
              <a:rPr lang="en-US" altLang="en-US">
                <a:latin typeface="Calibri" panose="020F0502020204030204" pitchFamily="34" charset="0"/>
                <a:sym typeface="Calibri" panose="020F0502020204030204" pitchFamily="34" charset="0"/>
              </a:rPr>
              <a:pPr/>
              <a:t>2012</a:t>
            </a:fld>
            <a:endParaRPr lang="it-IT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8" name="Segnaposto testo 70">
            <a:extLst>
              <a:ext uri="{FF2B5EF4-FFF2-40B4-BE49-F238E27FC236}">
                <a16:creationId xmlns="" xmlns:a16="http://schemas.microsoft.com/office/drawing/2014/main" id="{22CAEE1C-128A-4069-9650-E99442718011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3724275" y="3228975"/>
            <a:ext cx="5476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2pPr>
            <a:lvl3pPr marL="10461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3pPr>
            <a:lvl4pPr marL="15160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4pPr>
            <a:lvl5pPr marL="20066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5pPr>
            <a:lvl6pPr marL="24638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6pPr>
            <a:lvl7pPr marL="29210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7pPr>
            <a:lvl8pPr marL="33782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8pPr>
            <a:lvl9pPr marL="38354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280DE16C-7D05-4948-8C18-089DCB77D427}" type="datetime'''''''''''''''''''''1''3''''''''''.''40''''''''2'''">
              <a:rPr lang="en-US" altLang="en-US">
                <a:latin typeface="Calibri" panose="020F0502020204030204" pitchFamily="34" charset="0"/>
                <a:sym typeface="Calibri" panose="020F0502020204030204" pitchFamily="34" charset="0"/>
              </a:rPr>
              <a:pPr/>
              <a:t>13.402</a:t>
            </a:fld>
            <a:endParaRPr lang="it-IT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9" name="Segnaposto testo 85">
            <a:extLst>
              <a:ext uri="{FF2B5EF4-FFF2-40B4-BE49-F238E27FC236}">
                <a16:creationId xmlns="" xmlns:a16="http://schemas.microsoft.com/office/drawing/2014/main" id="{C0586E70-4EDF-4EB4-9F0D-83F27AA7C792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3825875" y="2232025"/>
            <a:ext cx="5476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2pPr>
            <a:lvl3pPr marL="10461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3pPr>
            <a:lvl4pPr marL="15160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4pPr>
            <a:lvl5pPr marL="20066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5pPr>
            <a:lvl6pPr marL="24638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6pPr>
            <a:lvl7pPr marL="29210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7pPr>
            <a:lvl8pPr marL="33782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8pPr>
            <a:lvl9pPr marL="38354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39468A8B-762E-41FA-8BE1-D50D21F54B3C}" type="datetime'''''''''''''''1''''''''9''.''''''7''''8''''''8'''''''''''''">
              <a:rPr lang="en-US" altLang="en-US" i="1">
                <a:latin typeface="Calibri" panose="020F0502020204030204" pitchFamily="34" charset="0"/>
                <a:sym typeface="Calibri" panose="020F0502020204030204" pitchFamily="34" charset="0"/>
              </a:rPr>
              <a:pPr/>
              <a:t>19.788</a:t>
            </a:fld>
            <a:endParaRPr lang="it-IT" i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0" name="Segnaposto testo 56">
            <a:extLst>
              <a:ext uri="{FF2B5EF4-FFF2-40B4-BE49-F238E27FC236}">
                <a16:creationId xmlns="" xmlns:a16="http://schemas.microsoft.com/office/drawing/2014/main" id="{C34762E3-C028-4AAE-8857-76831D6F6750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3405188" y="5573713"/>
            <a:ext cx="3746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2pPr>
            <a:lvl3pPr marL="10461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3pPr>
            <a:lvl4pPr marL="15160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4pPr>
            <a:lvl5pPr marL="20066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5pPr>
            <a:lvl6pPr marL="24638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6pPr>
            <a:lvl7pPr marL="29210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7pPr>
            <a:lvl8pPr marL="33782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8pPr>
            <a:lvl9pPr marL="38354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31FC0361-8C67-412E-9C29-DBE4BB6F1E75}" type="datetime'''''''''2''''''''0''''''''''11'''''''''''">
              <a:rPr lang="en-US" altLang="en-US">
                <a:latin typeface="Calibri" panose="020F0502020204030204" pitchFamily="34" charset="0"/>
                <a:sym typeface="Calibri" panose="020F0502020204030204" pitchFamily="34" charset="0"/>
              </a:rPr>
              <a:pPr/>
              <a:t>2011</a:t>
            </a:fld>
            <a:endParaRPr lang="it-IT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1" name="Segnaposto testo 82">
            <a:extLst>
              <a:ext uri="{FF2B5EF4-FFF2-40B4-BE49-F238E27FC236}">
                <a16:creationId xmlns="" xmlns:a16="http://schemas.microsoft.com/office/drawing/2014/main" id="{2F8FF71E-8FE5-46D5-B616-EEE24B935EE0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2286000" y="1851025"/>
            <a:ext cx="5476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2pPr>
            <a:lvl3pPr marL="10461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3pPr>
            <a:lvl4pPr marL="15160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4pPr>
            <a:lvl5pPr marL="20066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5pPr>
            <a:lvl6pPr marL="24638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6pPr>
            <a:lvl7pPr marL="29210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7pPr>
            <a:lvl8pPr marL="33782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8pPr>
            <a:lvl9pPr marL="38354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8FAD1B9E-38D3-4D17-9F04-ADC77555D87C}" type="datetime'''''''''2''''2.''''3''2''''''''7'''''''''''''">
              <a:rPr lang="en-US" altLang="en-US" i="1">
                <a:latin typeface="Calibri" panose="020F0502020204030204" pitchFamily="34" charset="0"/>
                <a:sym typeface="Calibri" panose="020F0502020204030204" pitchFamily="34" charset="0"/>
              </a:rPr>
              <a:pPr/>
              <a:t>22.327</a:t>
            </a:fld>
            <a:endParaRPr lang="it-IT" i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2" name="Segnaposto testo 53">
            <a:extLst>
              <a:ext uri="{FF2B5EF4-FFF2-40B4-BE49-F238E27FC236}">
                <a16:creationId xmlns="" xmlns:a16="http://schemas.microsoft.com/office/drawing/2014/main" id="{09B4BAB7-FC1F-4C47-A3CE-492715A336D0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1865313" y="5573713"/>
            <a:ext cx="3746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2pPr>
            <a:lvl3pPr marL="10461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3pPr>
            <a:lvl4pPr marL="15160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4pPr>
            <a:lvl5pPr marL="20066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5pPr>
            <a:lvl6pPr marL="24638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6pPr>
            <a:lvl7pPr marL="29210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7pPr>
            <a:lvl8pPr marL="33782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8pPr>
            <a:lvl9pPr marL="38354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D1A47F36-EC77-488A-B056-7552437A3F9D}" type="datetime'''''''''2''''''''''''''0''''''''''''''''''''''''05'''''''">
              <a:rPr lang="en-US" altLang="en-US">
                <a:latin typeface="Calibri" panose="020F0502020204030204" pitchFamily="34" charset="0"/>
                <a:sym typeface="Calibri" panose="020F0502020204030204" pitchFamily="34" charset="0"/>
              </a:rPr>
              <a:pPr/>
              <a:t>2005</a:t>
            </a:fld>
            <a:endParaRPr lang="it-IT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3" name="Segnaposto testo 66">
            <a:extLst>
              <a:ext uri="{FF2B5EF4-FFF2-40B4-BE49-F238E27FC236}">
                <a16:creationId xmlns="" xmlns:a16="http://schemas.microsoft.com/office/drawing/2014/main" id="{24D19BCB-432B-4387-B6EF-1CD0DA780A8A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1722438" y="2824163"/>
            <a:ext cx="5476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2pPr>
            <a:lvl3pPr marL="10461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3pPr>
            <a:lvl4pPr marL="15160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4pPr>
            <a:lvl5pPr marL="20066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5pPr>
            <a:lvl6pPr marL="24638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6pPr>
            <a:lvl7pPr marL="29210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7pPr>
            <a:lvl8pPr marL="33782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8pPr>
            <a:lvl9pPr marL="38354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BC1269E9-FF52-41E1-A5B4-A9E845CFD8A3}" type="datetime'''1''''''''''''''''6''''''''''''''''''''''''.''''0''7''''''3'">
              <a:rPr lang="en-US" altLang="en-US">
                <a:latin typeface="Calibri" panose="020F0502020204030204" pitchFamily="34" charset="0"/>
                <a:sym typeface="Calibri" panose="020F0502020204030204" pitchFamily="34" charset="0"/>
              </a:rPr>
              <a:pPr/>
              <a:t>16.073</a:t>
            </a:fld>
            <a:endParaRPr lang="it-IT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4" name="Segnaposto testo 81">
            <a:extLst>
              <a:ext uri="{FF2B5EF4-FFF2-40B4-BE49-F238E27FC236}">
                <a16:creationId xmlns="" xmlns:a16="http://schemas.microsoft.com/office/drawing/2014/main" id="{B9A985DF-9E05-4361-ACC2-00E2ADB71D8C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1776413" y="1797050"/>
            <a:ext cx="5476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2pPr>
            <a:lvl3pPr marL="10461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3pPr>
            <a:lvl4pPr marL="15160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4pPr>
            <a:lvl5pPr marL="20066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5pPr>
            <a:lvl6pPr marL="24638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6pPr>
            <a:lvl7pPr marL="29210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7pPr>
            <a:lvl8pPr marL="33782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8pPr>
            <a:lvl9pPr marL="38354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A3FDEF50-9721-48E2-892A-865C8955C8A8}" type="datetime'''''''''''''''''2''''''''''''''2.''''''7''''''''''''''0''4'''">
              <a:rPr lang="en-US" altLang="en-US" i="1">
                <a:latin typeface="Calibri" panose="020F0502020204030204" pitchFamily="34" charset="0"/>
                <a:sym typeface="Calibri" panose="020F0502020204030204" pitchFamily="34" charset="0"/>
              </a:rPr>
              <a:pPr/>
              <a:t>22.704</a:t>
            </a:fld>
            <a:endParaRPr lang="it-IT" i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5" name="Segnaposto testo 26">
            <a:extLst>
              <a:ext uri="{FF2B5EF4-FFF2-40B4-BE49-F238E27FC236}">
                <a16:creationId xmlns="" xmlns:a16="http://schemas.microsoft.com/office/drawing/2014/main" id="{A3B64B7C-57D5-4D1C-87F5-E44BC5A8B546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1354138" y="5573713"/>
            <a:ext cx="3746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2pPr>
            <a:lvl3pPr marL="10461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3pPr>
            <a:lvl4pPr marL="15160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4pPr>
            <a:lvl5pPr marL="20066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5pPr>
            <a:lvl6pPr marL="24638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6pPr>
            <a:lvl7pPr marL="29210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7pPr>
            <a:lvl8pPr marL="33782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8pPr>
            <a:lvl9pPr marL="38354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B9CB8EE4-CF88-429D-80D5-B8679F4DBE3D}" type="datetime'''''''''''''''''2''''''''0''''0''''''3'''''''''''''">
              <a:rPr lang="en-US" altLang="en-US">
                <a:latin typeface="Calibri" panose="020F0502020204030204" pitchFamily="34" charset="0"/>
                <a:sym typeface="Calibri" panose="020F0502020204030204" pitchFamily="34" charset="0"/>
              </a:rPr>
              <a:pPr/>
              <a:t>2003</a:t>
            </a:fld>
            <a:endParaRPr lang="it-IT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1" name="Segnaposto testo 80">
            <a:extLst>
              <a:ext uri="{FF2B5EF4-FFF2-40B4-BE49-F238E27FC236}">
                <a16:creationId xmlns="" xmlns:a16="http://schemas.microsoft.com/office/drawing/2014/main" id="{A6D24E6D-DC08-47D7-955D-C34681F16409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1265238" y="1865313"/>
            <a:ext cx="5476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2pPr>
            <a:lvl3pPr marL="10461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3pPr>
            <a:lvl4pPr marL="15160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4pPr>
            <a:lvl5pPr marL="20066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5pPr>
            <a:lvl6pPr marL="24638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6pPr>
            <a:lvl7pPr marL="29210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7pPr>
            <a:lvl8pPr marL="33782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8pPr>
            <a:lvl9pPr marL="38354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AC5941A1-AA8F-4B4E-968A-00B851B376E1}" type="datetime'''''''2''''''''2.''''''''''''''''''2''''''''''5''''9'''''''">
              <a:rPr lang="en-US" altLang="en-US" i="1">
                <a:latin typeface="Calibri" panose="020F0502020204030204" pitchFamily="34" charset="0"/>
                <a:sym typeface="Calibri" panose="020F0502020204030204" pitchFamily="34" charset="0"/>
              </a:rPr>
              <a:pPr/>
              <a:t>22.259</a:t>
            </a:fld>
            <a:endParaRPr lang="it-IT" i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2" name="Segnaposto testo 25">
            <a:extLst>
              <a:ext uri="{FF2B5EF4-FFF2-40B4-BE49-F238E27FC236}">
                <a16:creationId xmlns="" xmlns:a16="http://schemas.microsoft.com/office/drawing/2014/main" id="{C0A61B44-BFEF-445C-B7E5-FBED67B70AB9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839788" y="5573713"/>
            <a:ext cx="3746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2pPr>
            <a:lvl3pPr marL="10461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3pPr>
            <a:lvl4pPr marL="15160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4pPr>
            <a:lvl5pPr marL="20066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5pPr>
            <a:lvl6pPr marL="24638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6pPr>
            <a:lvl7pPr marL="29210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7pPr>
            <a:lvl8pPr marL="33782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8pPr>
            <a:lvl9pPr marL="38354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C481498E-FF22-4869-B69F-C0931775521E}" type="datetime'''''''''''''''''''''2''0''''''''''''0''''''1'''''''''''">
              <a:rPr lang="en-US" altLang="en-US">
                <a:latin typeface="Calibri" panose="020F0502020204030204" pitchFamily="34" charset="0"/>
                <a:sym typeface="Calibri" panose="020F0502020204030204" pitchFamily="34" charset="0"/>
              </a:rPr>
              <a:pPr/>
              <a:t>2001</a:t>
            </a:fld>
            <a:endParaRPr lang="it-IT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6" name="Segnaposto testo 65">
            <a:extLst>
              <a:ext uri="{FF2B5EF4-FFF2-40B4-BE49-F238E27FC236}">
                <a16:creationId xmlns="" xmlns:a16="http://schemas.microsoft.com/office/drawing/2014/main" id="{E9B3CACB-A42C-40C7-931E-65432DE42BFF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1181100" y="2816225"/>
            <a:ext cx="5476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2pPr>
            <a:lvl3pPr marL="10461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3pPr>
            <a:lvl4pPr marL="15160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4pPr>
            <a:lvl5pPr marL="20066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5pPr>
            <a:lvl6pPr marL="24638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6pPr>
            <a:lvl7pPr marL="29210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7pPr>
            <a:lvl8pPr marL="33782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8pPr>
            <a:lvl9pPr marL="38354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37F0B092-4B33-44CB-BFD4-AA5330CB9F8A}" type="datetime'1''''''6''''''''.''1''''''''''''''''''''''''''''''4''''''5'''">
              <a:rPr lang="en-US" altLang="en-US">
                <a:latin typeface="Calibri" panose="020F0502020204030204" pitchFamily="34" charset="0"/>
                <a:sym typeface="Calibri" panose="020F0502020204030204" pitchFamily="34" charset="0"/>
              </a:rPr>
              <a:pPr/>
              <a:t>16.145</a:t>
            </a:fld>
            <a:endParaRPr lang="it-IT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4" name="Segnaposto testo 79">
            <a:extLst>
              <a:ext uri="{FF2B5EF4-FFF2-40B4-BE49-F238E27FC236}">
                <a16:creationId xmlns="" xmlns:a16="http://schemas.microsoft.com/office/drawing/2014/main" id="{839BA98C-4DE5-4124-8FF1-1C48CE6F4A0B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755650" y="1751013"/>
            <a:ext cx="5476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2pPr>
            <a:lvl3pPr marL="10461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3pPr>
            <a:lvl4pPr marL="15160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4pPr>
            <a:lvl5pPr marL="20066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5pPr>
            <a:lvl6pPr marL="24638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6pPr>
            <a:lvl7pPr marL="29210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7pPr>
            <a:lvl8pPr marL="33782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8pPr>
            <a:lvl9pPr marL="38354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39971D4D-C6D6-4CD0-946A-0E1D3EBF5DF8}" type="datetime'''2''3.''''''''''00''''''''''''''''''''''''''9'''''">
              <a:rPr lang="en-US" altLang="en-US" i="1">
                <a:latin typeface="Calibri" panose="020F0502020204030204" pitchFamily="34" charset="0"/>
                <a:sym typeface="Calibri" panose="020F0502020204030204" pitchFamily="34" charset="0"/>
              </a:rPr>
              <a:pPr/>
              <a:t>23.009</a:t>
            </a:fld>
            <a:endParaRPr lang="it-IT" i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5" name="Segnaposto testo 24">
            <a:extLst>
              <a:ext uri="{FF2B5EF4-FFF2-40B4-BE49-F238E27FC236}">
                <a16:creationId xmlns="" xmlns:a16="http://schemas.microsoft.com/office/drawing/2014/main" id="{9993EDAB-5265-4771-B95B-AFD1586DFD19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325438" y="5573713"/>
            <a:ext cx="3746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2pPr>
            <a:lvl3pPr marL="10461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3pPr>
            <a:lvl4pPr marL="15160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4pPr>
            <a:lvl5pPr marL="20066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5pPr>
            <a:lvl6pPr marL="24638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6pPr>
            <a:lvl7pPr marL="29210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7pPr>
            <a:lvl8pPr marL="33782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8pPr>
            <a:lvl9pPr marL="38354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6E7DB710-72C1-4B33-81C1-8DFFBBD30559}" type="datetime'''''''''''''''''1''''''9''9''7'''''''''''''''''''">
              <a:rPr lang="en-US" altLang="en-US">
                <a:latin typeface="Calibri" panose="020F0502020204030204" pitchFamily="34" charset="0"/>
                <a:sym typeface="Calibri" panose="020F0502020204030204" pitchFamily="34" charset="0"/>
              </a:rPr>
              <a:pPr/>
              <a:t>1997</a:t>
            </a:fld>
            <a:endParaRPr lang="it-IT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6" name="Segnaposto testo 63">
            <a:extLst>
              <a:ext uri="{FF2B5EF4-FFF2-40B4-BE49-F238E27FC236}">
                <a16:creationId xmlns="" xmlns:a16="http://schemas.microsoft.com/office/drawing/2014/main" id="{3A98BB63-92C7-4637-A8DC-D623AD9C3F3D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239713" y="2336800"/>
            <a:ext cx="5476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2pPr>
            <a:lvl3pPr marL="10461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3pPr>
            <a:lvl4pPr marL="15160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4pPr>
            <a:lvl5pPr marL="20066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5pPr>
            <a:lvl6pPr marL="24638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6pPr>
            <a:lvl7pPr marL="29210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7pPr>
            <a:lvl8pPr marL="33782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8pPr>
            <a:lvl9pPr marL="38354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12EC5DBE-4CB6-4B74-B1A5-9F6D90E12D99}" type="datetime'''1''''''9''''''''''''''''.3''''''''2''''''1'''''''''">
              <a:rPr lang="en-US" altLang="en-US">
                <a:latin typeface="Calibri" panose="020F0502020204030204" pitchFamily="34" charset="0"/>
                <a:sym typeface="Calibri" panose="020F0502020204030204" pitchFamily="34" charset="0"/>
              </a:rPr>
              <a:pPr/>
              <a:t>19.321</a:t>
            </a:fld>
            <a:endParaRPr lang="it-IT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7" name="Segnaposto testo 78">
            <a:extLst>
              <a:ext uri="{FF2B5EF4-FFF2-40B4-BE49-F238E27FC236}">
                <a16:creationId xmlns="" xmlns:a16="http://schemas.microsoft.com/office/drawing/2014/main" id="{A672A9DF-8087-4B12-82DF-2DEE08574C75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236538" y="1668463"/>
            <a:ext cx="5476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2pPr>
            <a:lvl3pPr marL="10461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3pPr>
            <a:lvl4pPr marL="15160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4pPr>
            <a:lvl5pPr marL="20066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5pPr>
            <a:lvl6pPr marL="24638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6pPr>
            <a:lvl7pPr marL="29210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7pPr>
            <a:lvl8pPr marL="33782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8pPr>
            <a:lvl9pPr marL="38354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B18D7910-42F4-4AB2-AFEA-15CA70179853}" type="datetime'''''''''''''''''2''3''''''.''''5''''7''''''''2'''''">
              <a:rPr lang="en-US" altLang="en-US" i="1">
                <a:latin typeface="Calibri" panose="020F0502020204030204" pitchFamily="34" charset="0"/>
                <a:sym typeface="Calibri" panose="020F0502020204030204" pitchFamily="34" charset="0"/>
              </a:rPr>
              <a:pPr/>
              <a:t>23.572</a:t>
            </a:fld>
            <a:endParaRPr lang="it-IT" i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Ovale 2">
            <a:extLst>
              <a:ext uri="{FF2B5EF4-FFF2-40B4-BE49-F238E27FC236}">
                <a16:creationId xmlns="" xmlns:a16="http://schemas.microsoft.com/office/drawing/2014/main" id="{C49ED8B0-10AA-4A34-9290-7D65D4E291D1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6502400" y="3246438"/>
            <a:ext cx="603250" cy="2349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lnSpc>
                <a:spcPct val="90000"/>
              </a:lnSpc>
            </a:pPr>
            <a:fld id="{60BAAF7B-EA7B-4A5A-AFDD-922322ABA380}" type="datetime'''''''''''''''''-2''3'''''''',''''''8''''''''''%'''''">
              <a:rPr lang="it-IT" altLang="en-US" sz="1200">
                <a:sym typeface="Calibri" panose="020F0502020204030204" pitchFamily="34" charset="0"/>
              </a:rPr>
              <a:pPr algn="ctr" eaLnBrk="0" hangingPunct="0">
                <a:lnSpc>
                  <a:spcPct val="90000"/>
                </a:lnSpc>
              </a:pPr>
              <a:t>-23,8%</a:t>
            </a:fld>
            <a:endParaRPr lang="it-IT" sz="1200" strike="noStrike" normalizeH="0" dirty="0" err="1">
              <a:ln>
                <a:noFill/>
              </a:ln>
              <a:effectLst/>
              <a:sym typeface="Calibri" panose="020F0502020204030204" pitchFamily="34" charset="0"/>
            </a:endParaRPr>
          </a:p>
        </p:txBody>
      </p:sp>
      <p:sp>
        <p:nvSpPr>
          <p:cNvPr id="114" name="Segnaposto testo 58">
            <a:extLst>
              <a:ext uri="{FF2B5EF4-FFF2-40B4-BE49-F238E27FC236}">
                <a16:creationId xmlns="" xmlns:a16="http://schemas.microsoft.com/office/drawing/2014/main" id="{B1164F86-F16A-4285-B895-AB7C926CDD45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4425950" y="5573713"/>
            <a:ext cx="3746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2pPr>
            <a:lvl3pPr marL="10461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3pPr>
            <a:lvl4pPr marL="15160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4pPr>
            <a:lvl5pPr marL="20066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5pPr>
            <a:lvl6pPr marL="24638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6pPr>
            <a:lvl7pPr marL="29210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7pPr>
            <a:lvl8pPr marL="33782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8pPr>
            <a:lvl9pPr marL="38354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B1F73EB1-F97F-48C1-8FDE-0B1A908A218B}" type="datetime'''''''''2''''''''''''''''''''''''0''1''''''''''3'''''''''">
              <a:rPr lang="en-US" altLang="en-US">
                <a:latin typeface="Calibri" panose="020F0502020204030204" pitchFamily="34" charset="0"/>
                <a:sym typeface="Calibri" panose="020F0502020204030204" pitchFamily="34" charset="0"/>
              </a:rPr>
              <a:pPr/>
              <a:t>2013</a:t>
            </a:fld>
            <a:endParaRPr lang="it-IT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1" name="Segnaposto testo 59">
            <a:extLst>
              <a:ext uri="{FF2B5EF4-FFF2-40B4-BE49-F238E27FC236}">
                <a16:creationId xmlns="" xmlns:a16="http://schemas.microsoft.com/office/drawing/2014/main" id="{B294AF09-4A85-4742-B217-A780DC7748F7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5964238" y="5573713"/>
            <a:ext cx="3746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2pPr>
            <a:lvl3pPr marL="10461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3pPr>
            <a:lvl4pPr marL="15160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4pPr>
            <a:lvl5pPr marL="20066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5pPr>
            <a:lvl6pPr marL="24638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6pPr>
            <a:lvl7pPr marL="29210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7pPr>
            <a:lvl8pPr marL="33782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8pPr>
            <a:lvl9pPr marL="38354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AAA158EA-FCD7-4C2E-8B21-F2CD10C9C234}" type="datetime'''''''2''''''''''''''''''''''''''''0''''1''''''''6'''">
              <a:rPr lang="it-IT" altLang="en-US">
                <a:latin typeface="Calibri" panose="020F0502020204030204" pitchFamily="34" charset="0"/>
                <a:sym typeface="Calibri" panose="020F0502020204030204" pitchFamily="34" charset="0"/>
              </a:rPr>
              <a:pPr/>
              <a:t>2016</a:t>
            </a:fld>
            <a:endParaRPr lang="it-IT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4" name="Segnaposto testo 69">
            <a:extLst>
              <a:ext uri="{FF2B5EF4-FFF2-40B4-BE49-F238E27FC236}">
                <a16:creationId xmlns="" xmlns:a16="http://schemas.microsoft.com/office/drawing/2014/main" id="{A3332E63-35B0-497E-85A5-800ACEB65516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3203575" y="3159125"/>
            <a:ext cx="5476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2pPr>
            <a:lvl3pPr marL="10461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3pPr>
            <a:lvl4pPr marL="15160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4pPr>
            <a:lvl5pPr marL="20066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5pPr>
            <a:lvl6pPr marL="24638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6pPr>
            <a:lvl7pPr marL="29210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7pPr>
            <a:lvl8pPr marL="33782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8pPr>
            <a:lvl9pPr marL="38354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0C43A1AB-F977-44C9-A66A-B2C5D8517D61}" type="datetime'''''13''''.''8''6''''''''''''''''''''''''''''''9'">
              <a:rPr lang="en-US" altLang="en-US">
                <a:latin typeface="Calibri" panose="020F0502020204030204" pitchFamily="34" charset="0"/>
                <a:sym typeface="Calibri" panose="020F0502020204030204" pitchFamily="34" charset="0"/>
              </a:rPr>
              <a:pPr/>
              <a:t>13.869</a:t>
            </a:fld>
            <a:endParaRPr lang="it-IT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 useBgFill="1">
        <p:nvSpPr>
          <p:cNvPr id="125" name="Segnaposto testo 84">
            <a:extLst>
              <a:ext uri="{FF2B5EF4-FFF2-40B4-BE49-F238E27FC236}">
                <a16:creationId xmlns="" xmlns:a16="http://schemas.microsoft.com/office/drawing/2014/main" id="{23C4615C-E00F-4C9A-BA0B-DBADAA3CF954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3314700" y="2193925"/>
            <a:ext cx="547688" cy="212725"/>
          </a:xfrm>
          <a:prstGeom prst="rect">
            <a:avLst/>
          </a:prstGeom>
          <a:extLst/>
        </p:spPr>
        <p:txBody>
          <a:bodyPr wrap="none" lIns="25400" tIns="0" rIns="25400" bIns="0" numCol="1" spcCol="0" anchor="b" anchorCtr="0"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2pPr>
            <a:lvl3pPr marL="10461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3pPr>
            <a:lvl4pPr marL="15160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4pPr>
            <a:lvl5pPr marL="20066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5pPr>
            <a:lvl6pPr marL="24638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6pPr>
            <a:lvl7pPr marL="29210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7pPr>
            <a:lvl8pPr marL="33782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8pPr>
            <a:lvl9pPr marL="38354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C7A9E07C-C37C-4D07-B812-2D315F193BDF}" type="datetime'''''2''''''''''''''''''0''''.''''''06''''''0'''''''''''">
              <a:rPr lang="en-US" altLang="en-US" i="1">
                <a:latin typeface="Calibri" panose="020F0502020204030204" pitchFamily="34" charset="0"/>
                <a:sym typeface="Calibri" panose="020F0502020204030204" pitchFamily="34" charset="0"/>
              </a:rPr>
              <a:pPr/>
              <a:t>20.060</a:t>
            </a:fld>
            <a:endParaRPr lang="it-IT" i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6" name="Segnaposto testo 55">
            <a:extLst>
              <a:ext uri="{FF2B5EF4-FFF2-40B4-BE49-F238E27FC236}">
                <a16:creationId xmlns="" xmlns:a16="http://schemas.microsoft.com/office/drawing/2014/main" id="{B06F7C3D-E91D-43E2-8B7C-5D5787EC13DD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2890838" y="5573713"/>
            <a:ext cx="3746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2pPr>
            <a:lvl3pPr marL="10461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3pPr>
            <a:lvl4pPr marL="15160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4pPr>
            <a:lvl5pPr marL="20066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5pPr>
            <a:lvl6pPr marL="24638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6pPr>
            <a:lvl7pPr marL="29210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7pPr>
            <a:lvl8pPr marL="33782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8pPr>
            <a:lvl9pPr marL="38354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9F328D58-C142-49A8-AB57-B096AD9BFAB3}" type="datetime'2''''0''0''''''9'''">
              <a:rPr lang="en-US" altLang="en-US">
                <a:latin typeface="Calibri" panose="020F0502020204030204" pitchFamily="34" charset="0"/>
                <a:sym typeface="Calibri" panose="020F0502020204030204" pitchFamily="34" charset="0"/>
              </a:rPr>
              <a:pPr/>
              <a:t>2009</a:t>
            </a:fld>
            <a:endParaRPr lang="it-IT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7" name="Segnaposto testo 68">
            <a:extLst>
              <a:ext uri="{FF2B5EF4-FFF2-40B4-BE49-F238E27FC236}">
                <a16:creationId xmlns="" xmlns:a16="http://schemas.microsoft.com/office/drawing/2014/main" id="{5974173F-8B53-46DD-A6F2-7220F37286B7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2805113" y="2946400"/>
            <a:ext cx="5476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2pPr>
            <a:lvl3pPr marL="10461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3pPr>
            <a:lvl4pPr marL="15160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4pPr>
            <a:lvl5pPr marL="20066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5pPr>
            <a:lvl6pPr marL="24638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6pPr>
            <a:lvl7pPr marL="29210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7pPr>
            <a:lvl8pPr marL="33782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8pPr>
            <a:lvl9pPr marL="38354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E5DB8EC5-99BB-436E-932C-AFB8091CC45A}" type="datetime'''''''''''''1''''''''5''.''''''''''''''''''''''0''''94'''">
              <a:rPr lang="en-US" altLang="en-US">
                <a:latin typeface="Calibri" panose="020F0502020204030204" pitchFamily="34" charset="0"/>
                <a:sym typeface="Calibri" panose="020F0502020204030204" pitchFamily="34" charset="0"/>
              </a:rPr>
              <a:pPr/>
              <a:t>15.094</a:t>
            </a:fld>
            <a:endParaRPr lang="it-IT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3" name="Segnaposto testo 64">
            <a:extLst>
              <a:ext uri="{FF2B5EF4-FFF2-40B4-BE49-F238E27FC236}">
                <a16:creationId xmlns="" xmlns:a16="http://schemas.microsoft.com/office/drawing/2014/main" id="{B6784EA7-77F2-4487-9D2D-87141464083F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754063" y="2603500"/>
            <a:ext cx="5476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2pPr>
            <a:lvl3pPr marL="10461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3pPr>
            <a:lvl4pPr marL="15160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4pPr>
            <a:lvl5pPr marL="20066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5pPr>
            <a:lvl6pPr marL="24638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6pPr>
            <a:lvl7pPr marL="29210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7pPr>
            <a:lvl8pPr marL="33782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8pPr>
            <a:lvl9pPr marL="38354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00000"/>
              </a:lnSpc>
            </a:pPr>
            <a:fld id="{65CBD14F-FB75-4CE6-B6D7-18C80FC533AC}" type="datetime'''''''''''1''''''''7''''.3''''''0''''''''''''''''''''0'">
              <a:rPr lang="en-US" altLang="en-US">
                <a:latin typeface="Calibri" panose="020F0502020204030204" pitchFamily="34" charset="0"/>
                <a:sym typeface="Calibri" panose="020F0502020204030204" pitchFamily="34" charset="0"/>
              </a:rPr>
              <a:pPr/>
              <a:t>17.300</a:t>
            </a:fld>
            <a:endParaRPr lang="it-IT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7" name="Rettangolo 136">
            <a:extLst>
              <a:ext uri="{FF2B5EF4-FFF2-40B4-BE49-F238E27FC236}">
                <a16:creationId xmlns="" xmlns:a16="http://schemas.microsoft.com/office/drawing/2014/main" id="{B7C3B7CA-347B-4C33-9206-BBBC8B75D9E9}"/>
              </a:ext>
            </a:extLst>
          </p:cNvPr>
          <p:cNvSpPr/>
          <p:nvPr>
            <p:custDataLst>
              <p:tags r:id="rId58"/>
            </p:custDataLst>
          </p:nvPr>
        </p:nvSpPr>
        <p:spPr bwMode="auto">
          <a:xfrm>
            <a:off x="5238750" y="1881188"/>
            <a:ext cx="214313" cy="16033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2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  <p:cxnSp>
        <p:nvCxnSpPr>
          <p:cNvPr id="138" name="Connettore 1 84">
            <a:extLst>
              <a:ext uri="{FF2B5EF4-FFF2-40B4-BE49-F238E27FC236}">
                <a16:creationId xmlns="" xmlns:a16="http://schemas.microsoft.com/office/drawing/2014/main" id="{AD369A13-7B8A-46C2-B8DB-65E596666B8A}"/>
              </a:ext>
            </a:extLst>
          </p:cNvPr>
          <p:cNvCxnSpPr/>
          <p:nvPr>
            <p:custDataLst>
              <p:tags r:id="rId59"/>
            </p:custDataLst>
          </p:nvPr>
        </p:nvCxnSpPr>
        <p:spPr bwMode="gray">
          <a:xfrm>
            <a:off x="4244975" y="1960563"/>
            <a:ext cx="328612" cy="0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0" name="Segnaposto testo 61">
            <a:extLst>
              <a:ext uri="{FF2B5EF4-FFF2-40B4-BE49-F238E27FC236}">
                <a16:creationId xmlns="" xmlns:a16="http://schemas.microsoft.com/office/drawing/2014/main" id="{07329A99-988A-4AF7-BBE3-645700001026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4624388" y="1876425"/>
            <a:ext cx="3984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2pPr>
            <a:lvl3pPr marL="10461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3pPr>
            <a:lvl4pPr marL="15160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4pPr>
            <a:lvl5pPr marL="20066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5pPr>
            <a:lvl6pPr marL="24638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6pPr>
            <a:lvl7pPr marL="29210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7pPr>
            <a:lvl8pPr marL="33782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8pPr>
            <a:lvl9pPr marL="38354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</a:pPr>
            <a:fld id="{14060A9A-9720-4C3F-889B-1B15CEC9BEA0}" type="datetime'''''''''A''''''g''''''''''''''e''''''''n''''''''ti'">
              <a:rPr lang="en-US" altLang="en-US" sz="1200">
                <a:latin typeface="Calibri" panose="020F0502020204030204" pitchFamily="34" charset="0"/>
                <a:sym typeface="Calibri" panose="020F0502020204030204" pitchFamily="34" charset="0"/>
              </a:rPr>
              <a:pPr/>
              <a:t>Agenti</a:t>
            </a:fld>
            <a:endParaRPr lang="it-IT" sz="12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9" name="Segnaposto testo 60">
            <a:extLst>
              <a:ext uri="{FF2B5EF4-FFF2-40B4-BE49-F238E27FC236}">
                <a16:creationId xmlns="" xmlns:a16="http://schemas.microsoft.com/office/drawing/2014/main" id="{295ECEF8-F84F-4FD5-A74C-9AB19DA5E8FA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5503863" y="1876425"/>
            <a:ext cx="4857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2pPr>
            <a:lvl3pPr marL="10461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3pPr>
            <a:lvl4pPr marL="1516063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4pPr>
            <a:lvl5pPr marL="20066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5pPr>
            <a:lvl6pPr marL="24638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6pPr>
            <a:lvl7pPr marL="29210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7pPr>
            <a:lvl8pPr marL="33782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8pPr>
            <a:lvl9pPr marL="38354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</a:pPr>
            <a:fld id="{B2F39D42-6C87-4CFD-BDCB-81D1374CBCFA}" type="datetime'A''g''e''''''''n''''''''''''z''i''''''e'''''''">
              <a:rPr lang="en-US" altLang="en-US" sz="1200">
                <a:latin typeface="Calibri" panose="020F0502020204030204" pitchFamily="34" charset="0"/>
                <a:sym typeface="Calibri" panose="020F0502020204030204" pitchFamily="34" charset="0"/>
              </a:rPr>
              <a:pPr/>
              <a:t>Agenzie</a:t>
            </a:fld>
            <a:endParaRPr lang="it-IT" sz="12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141" name="Connettore diritto 140">
            <a:extLst>
              <a:ext uri="{FF2B5EF4-FFF2-40B4-BE49-F238E27FC236}">
                <a16:creationId xmlns="" xmlns:a16="http://schemas.microsoft.com/office/drawing/2014/main" id="{FC1CDCAB-5F9A-469C-8E00-6F96B399D885}"/>
              </a:ext>
            </a:extLst>
          </p:cNvPr>
          <p:cNvCxnSpPr/>
          <p:nvPr/>
        </p:nvCxnSpPr>
        <p:spPr bwMode="auto">
          <a:xfrm flipV="1">
            <a:off x="2822238" y="1808101"/>
            <a:ext cx="0" cy="316800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1526443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2147483647&quot;/&gt;&lt;m_strSuffix17909&gt;%&lt;/m_strSuffix17909&gt;&lt;/m_precDefaultPercent&gt;&lt;m_precDefaultDate&gt;&lt;m_bNumberIsYear val=&quot;0&quot;/&gt;&lt;m_strFormatTime&gt;%d/%m/%Y&lt;/m_strFormatTime&gt;&lt;/m_precDefaultDate&gt;&lt;m_precDefaultYear/&gt;&lt;m_precDefaultQuarter/&gt;&lt;m_precDefaultMonth/&gt;&lt;m_precDefaultWeek/&gt;&lt;m_precDefaultDay/&gt;&lt;m_mruColor&gt;&lt;m_vecMRU length=&quot;8&quot;&gt;&lt;elem m_fUsage=&quot;4.36941152943167840000E+000&quot;&gt;&lt;m_msothmcolidx val=&quot;0&quot;/&gt;&lt;m_rgb r=&quot;97&quot; g=&quot;bb&quot; b=&quot;a3&quot;/&gt;&lt;m_ppcolschidx tagver0=&quot;23004&quot; tagname0=&quot;m_ppcolschidxUNRECOGNIZED&quot; val=&quot;0&quot;/&gt;&lt;m_nBrightness val=&quot;0&quot;/&gt;&lt;/elem&gt;&lt;elem m_fUsage=&quot;1.49600633026413470000E+000&quot;&gt;&lt;m_msothmcolidx val=&quot;0&quot;/&gt;&lt;m_rgb r=&quot;ea&quot; g=&quot;ea&quot; b=&quot;ea&quot;/&gt;&lt;m_ppcolschidx tagver0=&quot;23004&quot; tagname0=&quot;m_ppcolschidxUNRECOGNIZED&quot; val=&quot;0&quot;/&gt;&lt;m_nBrightness val=&quot;0&quot;/&gt;&lt;/elem&gt;&lt;elem m_fUsage=&quot;1.47051450372742630000E+000&quot;&gt;&lt;m_msothmcolidx val=&quot;0&quot;/&gt;&lt;m_rgb r=&quot;ca&quot; g=&quot;dd&quot; b=&quot;d0&quot;/&gt;&lt;m_ppcolschidx tagver0=&quot;23004&quot; tagname0=&quot;m_ppcolschidxUNRECOGNIZED&quot; val=&quot;0&quot;/&gt;&lt;m_nBrightness val=&quot;0&quot;/&gt;&lt;/elem&gt;&lt;elem m_fUsage=&quot;1.19956332192361350000E+000&quot;&gt;&lt;m_msothmcolidx val=&quot;0&quot;/&gt;&lt;m_rgb r=&quot;0&quot; g=&quot;54&quot; b=&quot;4f&quot;/&gt;&lt;m_ppcolschidx tagver0=&quot;23004&quot; tagname0=&quot;m_ppcolschidxUNRECOGNIZED&quot; val=&quot;0&quot;/&gt;&lt;m_nBrightness val=&quot;0&quot;/&gt;&lt;/elem&gt;&lt;elem m_fUsage=&quot;1.01589113209464930000E+000&quot;&gt;&lt;m_msothmcolidx val=&quot;0&quot;/&gt;&lt;m_rgb r=&quot;ff&quot; g=&quot;0&quot; b=&quot;0&quot;/&gt;&lt;m_ppcolschidx tagver0=&quot;23004&quot; tagname0=&quot;m_ppcolschidxUNRECOGNIZED&quot; val=&quot;0&quot;/&gt;&lt;m_nBrightness val=&quot;0&quot;/&gt;&lt;/elem&gt;&lt;elem m_fUsage=&quot;3.73609450538369080000E-001&quot;&gt;&lt;m_msothmcolidx val=&quot;0&quot;/&gt;&lt;m_rgb r=&quot;d4&quot; g=&quot;e2&quot; b=&quot;d8&quot;/&gt;&lt;m_ppcolschidx tagver0=&quot;23004&quot; tagname0=&quot;m_ppcolschidxUNRECOGNIZED&quot; val=&quot;0&quot;/&gt;&lt;m_nBrightness val=&quot;0&quot;/&gt;&lt;/elem&gt;&lt;elem m_fUsage=&quot;7.17897987691853150000E-002&quot;&gt;&lt;m_msothmcolidx val=&quot;0&quot;/&gt;&lt;m_rgb r=&quot;97&quot; g=&quot;bb&quot; b=&quot;ff&quot;/&gt;&lt;m_ppcolschidx tagver0=&quot;23004&quot; tagname0=&quot;m_ppcolschidxUNRECOGNIZED&quot; val=&quot;0&quot;/&gt;&lt;m_nBrightness val=&quot;0&quot;/&gt;&lt;/elem&gt;&lt;elem m_fUsage=&quot;1.02918824566250130000E-003&quot;&gt;&lt;m_msothmcolidx val=&quot;0&quot;/&gt;&lt;m_rgb r=&quot;dd&quot; g=&quot;dd&quot; b=&quot;dd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DSCu9wQlqV6yI84OPu0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TWSNP.RaCZ3owYM6VXX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nHwta0QrOE_rzGTmHD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kAxADqRzi7N.D3bmLm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en.fROT1GFZw0SweQx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5u0IwDTD.oLODuPFuHq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.TDh54T1WJGEBoUczw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NyCwsbSxiOhdSagwHzc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E4rcjzRASUXd6PS.Dz3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ynbiGQRW6gb5Hzaa0tw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C1rHOZT2.0jSAeecSnK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VQOWklRYm6xR16nmQ6C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fvAaSGRE2BRknhPdd4C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FhbHe_RZ6HHMjbEkMmj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ZTCyuaRC.tJVOFHF2c.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S7QCwhTZaL9ptUQ77as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Roj4OZQvCf.AUPK2a1D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x6OV2dRWGRILtTuclwT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KPME.hR.Cvsp5cCpZmc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lU26Z1QFODIr33dbA2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nJ06ZIQpKyWls0ffIhG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1JohGBSYqOsCKnpwckY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TVhluNTTqfoP6R8nKCH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DWhHuYROOL06wc3sgrH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zW5.kzTWe0aCN6Plg3L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YPqVuUSMy46If3e3nXf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gyyvYvSDamH3rF._Bvc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mbQxsjQWSqjDY63O7.4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WN2yxURXGsda1uU_ALO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7GLenRTgGAijgE29Ha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Aa09oOD0m0JaFCv4oUk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EcJr6IQ1C5N3ZULV7G9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cXhn15SiS3zkJwQfOja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MON.QRSBOrIp88SfOdZ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YM23_QRuunAUFcSMidL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7TklANStijL08jBc6IJ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wRtOlMSruYuYLjgZon3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8uUxonQryq0ucpg3hn7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Rb0tl3Q2yh5TsqeLfWr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TMKD8xR1WFDw88o3D0c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OSTz7STCCzKaQ4QUn3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Fv79POSwut0DNIGCMEG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9B0tI2SV.kVFaoFDik9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6jVhGNQfOkbLdLSDICG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r9vqobQo2kLXXYzNOyM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TGqaJGTQSyumXY1yjKa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_2qZwfITfmYJ63zJI3WE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ynYc0bSMeVwYBBWreia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3LaAmQ6W1xk6iZCqo5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OYr0WWTHuexwasroVSM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2Hj5qnROqAV_.bG_tQ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ImeTfNSn234ipKR46bK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0Iq6aTTeWv.H5lQMJjU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l54KrVTFKgD94uyNcVB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u6ifooTzOjqbBKo.r1k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puE76EQyOOHisofdKOk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51RWKBRySivJoAXWsNS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915ntriECWD5aeIv28q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8qHNZiRyurGihA4Aw0g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.V5V1CTz.Fl4hnYcJdlA"/>
</p:tagLst>
</file>

<file path=ppt/theme/theme1.xml><?xml version="1.0" encoding="utf-8"?>
<a:theme xmlns:a="http://schemas.openxmlformats.org/drawingml/2006/main" name="Master 2008">
  <a:themeElements>
    <a:clrScheme name="Personalizzato 2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544F"/>
      </a:accent1>
      <a:accent2>
        <a:srgbClr val="97BBA3"/>
      </a:accent2>
      <a:accent3>
        <a:srgbClr val="D4E2D8"/>
      </a:accent3>
      <a:accent4>
        <a:srgbClr val="808080"/>
      </a:accent4>
      <a:accent5>
        <a:srgbClr val="B2B2B2"/>
      </a:accent5>
      <a:accent6>
        <a:srgbClr val="EAEAEA"/>
      </a:accent6>
      <a:hlink>
        <a:srgbClr val="DDDDDD"/>
      </a:hlink>
      <a:folHlink>
        <a:srgbClr val="D4E2D8"/>
      </a:folHlink>
    </a:clrScheme>
    <a:fontScheme name="Master 200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 w="12700" cap="flat" cmpd="sng" algn="ctr">
          <a:solidFill>
            <a:schemeClr val="bg1">
              <a:lumMod val="6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ctr" anchorCtr="0" compatLnSpc="1">
        <a:prstTxWarp prst="textNoShape">
          <a:avLst/>
        </a:prstTxWarp>
      </a:bodyPr>
      <a:lstStyle>
        <a:defPPr marL="0" marR="0" indent="0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7200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>
    <a:extraClrScheme>
      <a:clrScheme name="Master 2008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008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2008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008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008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008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008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882</TotalTime>
  <Words>96</Words>
  <Application>Microsoft Macintosh PowerPoint</Application>
  <PresentationFormat>A4 (21x29,7 cm)</PresentationFormat>
  <Paragraphs>45</Paragraphs>
  <Slides>1</Slides>
  <Notes>1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er OLE incorporati</vt:lpstr>
      </vt:variant>
      <vt:variant>
        <vt:i4>2</vt:i4>
      </vt:variant>
      <vt:variant>
        <vt:lpstr>Titoli diapositive</vt:lpstr>
      </vt:variant>
      <vt:variant>
        <vt:i4>1</vt:i4>
      </vt:variant>
    </vt:vector>
  </HeadingPairs>
  <TitlesOfParts>
    <vt:vector size="4" baseType="lpstr">
      <vt:lpstr>Master 2008</vt:lpstr>
      <vt:lpstr>Diapositiva think-cell</vt:lpstr>
      <vt:lpstr>Chart</vt:lpstr>
      <vt:lpstr>Presentazione di PowerPoint</vt:lpstr>
    </vt:vector>
  </TitlesOfParts>
  <Company>뿿죐뿿젰뿿_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OLO PRESENTAZIONE</dc:title>
  <dc:creator>Cristina Gissi</dc:creator>
  <cp:lastModifiedBy>Roberto Bagnoli</cp:lastModifiedBy>
  <cp:revision>918</cp:revision>
  <cp:lastPrinted>2015-03-03T11:34:21Z</cp:lastPrinted>
  <dcterms:created xsi:type="dcterms:W3CDTF">2015-03-22T09:14:56Z</dcterms:created>
  <dcterms:modified xsi:type="dcterms:W3CDTF">2017-12-15T15:07:31Z</dcterms:modified>
</cp:coreProperties>
</file>